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2.xml" ContentType="application/vnd.openxmlformats-officedocument.themeOverride+xml"/>
  <Override PartName="/ppt/charts/chart10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3.xml" ContentType="application/vnd.openxmlformats-officedocument.themeOverride+xml"/>
  <Override PartName="/ppt/charts/chart11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4.xml" ContentType="application/vnd.openxmlformats-officedocument.themeOverride+xml"/>
  <Override PartName="/ppt/charts/chart12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5.xml" ContentType="application/vnd.openxmlformats-officedocument.themeOverride+xml"/>
  <Override PartName="/ppt/charts/chart13.xml" ContentType="application/vnd.openxmlformats-officedocument.drawingml.chart+xml"/>
  <Override PartName="/ppt/theme/themeOverride6.xml" ContentType="application/vnd.openxmlformats-officedocument.themeOverr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heme/themeOverride7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4"/>
  </p:notesMasterIdLst>
  <p:handoutMasterIdLst>
    <p:handoutMasterId r:id="rId65"/>
  </p:handoutMasterIdLst>
  <p:sldIdLst>
    <p:sldId id="283" r:id="rId2"/>
    <p:sldId id="284" r:id="rId3"/>
    <p:sldId id="2147473800" r:id="rId4"/>
    <p:sldId id="2147473824" r:id="rId5"/>
    <p:sldId id="2147473870" r:id="rId6"/>
    <p:sldId id="2147473848" r:id="rId7"/>
    <p:sldId id="2147473785" r:id="rId8"/>
    <p:sldId id="300" r:id="rId9"/>
    <p:sldId id="2147472414" r:id="rId10"/>
    <p:sldId id="2147472415" r:id="rId11"/>
    <p:sldId id="2147472409" r:id="rId12"/>
    <p:sldId id="305" r:id="rId13"/>
    <p:sldId id="2147472411" r:id="rId14"/>
    <p:sldId id="2147472410" r:id="rId15"/>
    <p:sldId id="2147472416" r:id="rId16"/>
    <p:sldId id="2147472417" r:id="rId17"/>
    <p:sldId id="2147472418" r:id="rId18"/>
    <p:sldId id="2147472419" r:id="rId19"/>
    <p:sldId id="2147472403" r:id="rId20"/>
    <p:sldId id="2147472412" r:id="rId21"/>
    <p:sldId id="2147472413" r:id="rId22"/>
    <p:sldId id="2147473709" r:id="rId23"/>
    <p:sldId id="318" r:id="rId24"/>
    <p:sldId id="2147473856" r:id="rId25"/>
    <p:sldId id="2147473801" r:id="rId26"/>
    <p:sldId id="330" r:id="rId27"/>
    <p:sldId id="320" r:id="rId28"/>
    <p:sldId id="329" r:id="rId29"/>
    <p:sldId id="2147473802" r:id="rId30"/>
    <p:sldId id="316" r:id="rId31"/>
    <p:sldId id="2147472420" r:id="rId32"/>
    <p:sldId id="315" r:id="rId33"/>
    <p:sldId id="2147472427" r:id="rId34"/>
    <p:sldId id="2147472421" r:id="rId35"/>
    <p:sldId id="269" r:id="rId36"/>
    <p:sldId id="276" r:id="rId37"/>
    <p:sldId id="2147473803" r:id="rId38"/>
    <p:sldId id="2147473857" r:id="rId39"/>
    <p:sldId id="256" r:id="rId40"/>
    <p:sldId id="258" r:id="rId41"/>
    <p:sldId id="257" r:id="rId42"/>
    <p:sldId id="259" r:id="rId43"/>
    <p:sldId id="260" r:id="rId44"/>
    <p:sldId id="261" r:id="rId45"/>
    <p:sldId id="262" r:id="rId46"/>
    <p:sldId id="263" r:id="rId47"/>
    <p:sldId id="264" r:id="rId48"/>
    <p:sldId id="265" r:id="rId49"/>
    <p:sldId id="266" r:id="rId50"/>
    <p:sldId id="267" r:id="rId51"/>
    <p:sldId id="2147376324" r:id="rId52"/>
    <p:sldId id="2147376317" r:id="rId53"/>
    <p:sldId id="2147376325" r:id="rId54"/>
    <p:sldId id="2147376323" r:id="rId55"/>
    <p:sldId id="2147376315" r:id="rId56"/>
    <p:sldId id="2147376313" r:id="rId57"/>
    <p:sldId id="2147376326" r:id="rId58"/>
    <p:sldId id="2147473805" r:id="rId59"/>
    <p:sldId id="2147473871" r:id="rId60"/>
    <p:sldId id="2147473858" r:id="rId61"/>
    <p:sldId id="2147473859" r:id="rId62"/>
    <p:sldId id="2147473839" r:id="rId63"/>
  </p:sldIdLst>
  <p:sldSz cx="12192000" cy="6858000"/>
  <p:notesSz cx="6724650" cy="9774238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78">
          <p15:clr>
            <a:srgbClr val="A4A3A4"/>
          </p15:clr>
        </p15:guide>
        <p15:guide id="2" pos="21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suario" initials="U" lastIdx="2" clrIdx="0"/>
  <p:cmAuthor id="2" name="Patricia Ribeiro Torres" initials="PRT" lastIdx="0" clrIdx="1"/>
  <p:cmAuthor id="3" name="Danubia Nascimento Brandao" initials="DNB" lastIdx="2" clrIdx="2">
    <p:extLst>
      <p:ext uri="{19B8F6BF-5375-455C-9EA6-DF929625EA0E}">
        <p15:presenceInfo xmlns:p15="http://schemas.microsoft.com/office/powerpoint/2012/main" userId="S-1-5-21-3829931366-1461538500-2489753106-3012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99593"/>
    <a:srgbClr val="46B3B3"/>
    <a:srgbClr val="996600"/>
    <a:srgbClr val="CC9900"/>
    <a:srgbClr val="1822EC"/>
    <a:srgbClr val="AC0000"/>
    <a:srgbClr val="CCFFFF"/>
    <a:srgbClr val="00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Estilo Médio 2 - Ênfas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Estilo Médio 2 - Ênfas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DBED569-4797-4DF1-A0F4-6AAB3CD982D8}" styleName="Estilo Claro 3 - Ênfase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2838BEF-8BB2-4498-84A7-C5851F593DF1}" styleName="Estilo Médio 4 - Ênfase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69CF1AB2-1976-4502-BF36-3FF5EA218861}" styleName="Estilo Médio 4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Estilo Claro 2 - Ênfas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Estilo Claro 3 - Ênfase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Estilo Médio 1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31" autoAdjust="0"/>
    <p:restoredTop sz="91325" autoAdjust="0"/>
  </p:normalViewPr>
  <p:slideViewPr>
    <p:cSldViewPr>
      <p:cViewPr varScale="1">
        <p:scale>
          <a:sx n="104" d="100"/>
          <a:sy n="104" d="100"/>
        </p:scale>
        <p:origin x="840" y="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0356"/>
    </p:cViewPr>
  </p:sorterViewPr>
  <p:notesViewPr>
    <p:cSldViewPr>
      <p:cViewPr varScale="1">
        <p:scale>
          <a:sx n="81" d="100"/>
          <a:sy n="81" d="100"/>
        </p:scale>
        <p:origin x="4014" y="102"/>
      </p:cViewPr>
      <p:guideLst>
        <p:guide orient="horz" pos="3078"/>
        <p:guide pos="21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commentAuthors" Target="commentAuthor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notesMaster" Target="notesMasters/notesMaster1.xml"/><Relationship Id="rId69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\\fileserver\Hospital\Atendimento\13%20-%20Relacionamento%20com%20Clientes\01%20-%20Fechamento%20e%20indicadores\Conselheiros\Indicadores%20Conselheiro%20Gestor\2025\indicadores%20conselho%20gestor%20-%202025%20atualizado.xlsx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file:///\\fileserver\Hospital\Atendimento\13%20-%20Relacionamento%20com%20Clientes\01%20-%20Fechamento%20e%20indicadores\Conselheiros\Indicadores%20Conselheiro%20Gestor\2025\indicadores%20conselho%20gestor%20-%202025%20atualizado.xlsx" TargetMode="Externa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file:///\\fileserver\Hospital\Atendimento\13%20-%20Relacionamento%20com%20Clientes\01%20-%20Fechamento%20e%20indicadores\Conselheiros\Indicadores%20Conselheiro%20Gestor\2025\indicadores%20conselho%20gestor%20-%202025%20atualizado.xlsx" TargetMode="Externa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oleObject" Target="file:///\\fileserver\Hospital\Atendimento\13%20-%20Relacionamento%20com%20Clientes\01%20-%20Fechamento%20e%20indicadores\Conselheiros\Indicadores%20Conselheiro%20Gestor\2025\indicadores%20conselho%20gestor%20-%202025%20atualizado.xlsx" TargetMode="External"/><Relationship Id="rId1" Type="http://schemas.openxmlformats.org/officeDocument/2006/relationships/themeOverride" Target="../theme/themeOverride6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oleObject" Target="file:///\\fileserver\Hospital\Centro%20de%20Comando%20Operacional\Lideran&#231;a\LIDERAN&#199;A%20ENFERMAGEM%20-%20SENIOR\dadoshigiene.xlsx" TargetMode="External"/><Relationship Id="rId1" Type="http://schemas.openxmlformats.org/officeDocument/2006/relationships/themeOverride" Target="../theme/themeOverride7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\\fileserver\Hospital\Indicadores%20HMMD\Indicadores%20de%20&#193;reas\AS_Atendimento\Ouvidoria%20Local\FT_%20Satisfa&#231;&#227;o%20Do%20Usu&#225;rio%20-%20Manifesta&#231;&#227;o%20Espont&#226;nea.xlsx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854916711445461E-3"/>
          <c:y val="0.38915470494417864"/>
          <c:w val="0.98602901665771092"/>
          <c:h val="0.3843700159489633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6F8DB9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B34-48EF-9DA3-4F2C5F08AA52}"/>
              </c:ext>
            </c:extLst>
          </c:dPt>
          <c:dPt>
            <c:idx val="1"/>
            <c:invertIfNegative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B34-48EF-9DA3-4F2C5F08AA52}"/>
              </c:ext>
            </c:extLst>
          </c:dPt>
          <c:dPt>
            <c:idx val="2"/>
            <c:invertIfNegative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EB34-48EF-9DA3-4F2C5F08AA52}"/>
              </c:ext>
            </c:extLst>
          </c:dPt>
          <c:dPt>
            <c:idx val="3"/>
            <c:invertIfNegative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B34-48EF-9DA3-4F2C5F08AA52}"/>
              </c:ext>
            </c:extLst>
          </c:dPt>
          <c:dPt>
            <c:idx val="4"/>
            <c:invertIfNegative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EB34-48EF-9DA3-4F2C5F08AA52}"/>
              </c:ext>
            </c:extLst>
          </c:dPt>
          <c:dPt>
            <c:idx val="13"/>
            <c:invertIfNegative val="0"/>
            <c:bubble3D val="0"/>
            <c:spPr>
              <a:solidFill>
                <a:srgbClr val="9DB1C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EB34-48EF-9DA3-4F2C5F08AA52}"/>
              </c:ext>
            </c:extLst>
          </c:dPt>
          <c:dPt>
            <c:idx val="14"/>
            <c:invertIfNegative val="0"/>
            <c:bubble3D val="0"/>
            <c:spPr>
              <a:solidFill>
                <a:srgbClr val="9DB1C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EB34-48EF-9DA3-4F2C5F08AA52}"/>
              </c:ext>
            </c:extLst>
          </c:dPt>
          <c:dPt>
            <c:idx val="15"/>
            <c:invertIfNegative val="0"/>
            <c:bubble3D val="0"/>
            <c:spPr>
              <a:solidFill>
                <a:srgbClr val="9DB1C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EB34-48EF-9DA3-4F2C5F08AA52}"/>
              </c:ext>
            </c:extLst>
          </c:dPt>
          <c:dPt>
            <c:idx val="16"/>
            <c:invertIfNegative val="0"/>
            <c:bubble3D val="0"/>
            <c:spPr>
              <a:solidFill>
                <a:srgbClr val="9DB1C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EB34-48EF-9DA3-4F2C5F08AA52}"/>
              </c:ext>
            </c:extLst>
          </c:dPt>
          <c:dLbls>
            <c:dLbl>
              <c:idx val="0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B34-48EF-9DA3-4F2C5F08AA52}"/>
                </c:ext>
              </c:extLst>
            </c:dLbl>
            <c:dLbl>
              <c:idx val="1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B34-48EF-9DA3-4F2C5F08AA52}"/>
                </c:ext>
              </c:extLst>
            </c:dLbl>
            <c:dLbl>
              <c:idx val="2"/>
              <c:layout>
                <c:manualLayout>
                  <c:x val="0"/>
                  <c:y val="-6.37958532695374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B34-48EF-9DA3-4F2C5F08AA52}"/>
                </c:ext>
              </c:extLst>
            </c:dLbl>
            <c:dLbl>
              <c:idx val="3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B34-48EF-9DA3-4F2C5F08AA52}"/>
                </c:ext>
              </c:extLst>
            </c:dLbl>
            <c:dLbl>
              <c:idx val="4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B34-48EF-9DA3-4F2C5F08AA52}"/>
                </c:ext>
              </c:extLst>
            </c:dLbl>
            <c:dLbl>
              <c:idx val="5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EB34-48EF-9DA3-4F2C5F08AA52}"/>
                </c:ext>
              </c:extLst>
            </c:dLbl>
            <c:dLbl>
              <c:idx val="6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B34-48EF-9DA3-4F2C5F08AA52}"/>
                </c:ext>
              </c:extLst>
            </c:dLbl>
            <c:dLbl>
              <c:idx val="7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B34-48EF-9DA3-4F2C5F08AA52}"/>
                </c:ext>
              </c:extLst>
            </c:dLbl>
            <c:dLbl>
              <c:idx val="8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B34-48EF-9DA3-4F2C5F08AA52}"/>
                </c:ext>
              </c:extLst>
            </c:dLbl>
            <c:dLbl>
              <c:idx val="9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B34-48EF-9DA3-4F2C5F08AA52}"/>
                </c:ext>
              </c:extLst>
            </c:dLbl>
            <c:dLbl>
              <c:idx val="10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EB34-48EF-9DA3-4F2C5F08AA52}"/>
                </c:ext>
              </c:extLst>
            </c:dLbl>
            <c:dLbl>
              <c:idx val="11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EB34-48EF-9DA3-4F2C5F08AA52}"/>
                </c:ext>
              </c:extLst>
            </c:dLbl>
            <c:dLbl>
              <c:idx val="12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EB34-48EF-9DA3-4F2C5F08AA52}"/>
                </c:ext>
              </c:extLst>
            </c:dLbl>
            <c:dLbl>
              <c:idx val="13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B34-48EF-9DA3-4F2C5F08AA52}"/>
                </c:ext>
              </c:extLst>
            </c:dLbl>
            <c:dLbl>
              <c:idx val="14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B34-48EF-9DA3-4F2C5F08AA52}"/>
                </c:ext>
              </c:extLst>
            </c:dLbl>
            <c:dLbl>
              <c:idx val="15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B34-48EF-9DA3-4F2C5F08AA52}"/>
                </c:ext>
              </c:extLst>
            </c:dLbl>
            <c:dLbl>
              <c:idx val="16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B34-48EF-9DA3-4F2C5F08AA5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Q$1</c:f>
              <c:numCache>
                <c:formatCode>General</c:formatCode>
                <c:ptCount val="17"/>
                <c:pt idx="0">
                  <c:v>26.998687</c:v>
                </c:pt>
                <c:pt idx="1">
                  <c:v>26.998687</c:v>
                </c:pt>
                <c:pt idx="2">
                  <c:v>28.448314</c:v>
                </c:pt>
                <c:pt idx="3">
                  <c:v>28.348621000000001</c:v>
                </c:pt>
                <c:pt idx="4">
                  <c:v>28.348621000000001</c:v>
                </c:pt>
                <c:pt idx="5">
                  <c:v>28.348621000000001</c:v>
                </c:pt>
                <c:pt idx="6">
                  <c:v>28.348621000000001</c:v>
                </c:pt>
                <c:pt idx="7">
                  <c:v>28.348621000000001</c:v>
                </c:pt>
                <c:pt idx="8">
                  <c:v>28.348621000000001</c:v>
                </c:pt>
                <c:pt idx="9">
                  <c:v>28.348621000000001</c:v>
                </c:pt>
                <c:pt idx="10">
                  <c:v>28.348621000000001</c:v>
                </c:pt>
                <c:pt idx="11">
                  <c:v>28.348621000000001</c:v>
                </c:pt>
                <c:pt idx="12">
                  <c:v>28.348621000000001</c:v>
                </c:pt>
                <c:pt idx="13">
                  <c:v>28.348621000000001</c:v>
                </c:pt>
                <c:pt idx="14">
                  <c:v>28.348621000000001</c:v>
                </c:pt>
                <c:pt idx="15">
                  <c:v>28.348621000000001</c:v>
                </c:pt>
                <c:pt idx="16">
                  <c:v>28.348621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EB34-48EF-9DA3-4F2C5F08AA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715032880"/>
        <c:axId val="1"/>
      </c:barChart>
      <c:lineChart>
        <c:grouping val="standard"/>
        <c:varyColors val="0"/>
        <c:ser>
          <c:idx val="1"/>
          <c:order val="1"/>
          <c:spPr>
            <a:ln w="19050" cmpd="sng" algn="ctr">
              <a:solidFill>
                <a:srgbClr val="000000"/>
              </a:solidFill>
              <a:prstDash val="dash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EB34-48EF-9DA3-4F2C5F08AA52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EB34-48EF-9DA3-4F2C5F08AA52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EB34-48EF-9DA3-4F2C5F08AA52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EB34-48EF-9DA3-4F2C5F08AA52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EB34-48EF-9DA3-4F2C5F08AA52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EB34-48EF-9DA3-4F2C5F08AA52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EB34-48EF-9DA3-4F2C5F08AA52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EB34-48EF-9DA3-4F2C5F08AA52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EB34-48EF-9DA3-4F2C5F08AA52}"/>
              </c:ext>
            </c:extLst>
          </c:dPt>
          <c:dPt>
            <c:idx val="9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EB34-48EF-9DA3-4F2C5F08AA52}"/>
              </c:ext>
            </c:extLst>
          </c:dPt>
          <c:dPt>
            <c:idx val="10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EB34-48EF-9DA3-4F2C5F08AA52}"/>
              </c:ext>
            </c:extLst>
          </c:dPt>
          <c:dPt>
            <c:idx val="11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EB34-48EF-9DA3-4F2C5F08AA52}"/>
              </c:ext>
            </c:extLst>
          </c:dPt>
          <c:dPt>
            <c:idx val="12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EB34-48EF-9DA3-4F2C5F08AA52}"/>
              </c:ext>
            </c:extLst>
          </c:dPt>
          <c:dPt>
            <c:idx val="13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EB34-48EF-9DA3-4F2C5F08AA52}"/>
              </c:ext>
            </c:extLst>
          </c:dPt>
          <c:dPt>
            <c:idx val="14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EB34-48EF-9DA3-4F2C5F08AA52}"/>
              </c:ext>
            </c:extLst>
          </c:dPt>
          <c:dPt>
            <c:idx val="15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EB34-48EF-9DA3-4F2C5F08AA52}"/>
              </c:ext>
            </c:extLst>
          </c:dPt>
          <c:dPt>
            <c:idx val="16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EB34-48EF-9DA3-4F2C5F08AA52}"/>
              </c:ext>
            </c:extLst>
          </c:dPt>
          <c:dLbls>
            <c:dLbl>
              <c:idx val="0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EB34-48EF-9DA3-4F2C5F08AA52}"/>
                </c:ext>
              </c:extLst>
            </c:dLbl>
            <c:dLbl>
              <c:idx val="1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EB34-48EF-9DA3-4F2C5F08AA52}"/>
                </c:ext>
              </c:extLst>
            </c:dLbl>
            <c:dLbl>
              <c:idx val="2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EB34-48EF-9DA3-4F2C5F08AA52}"/>
                </c:ext>
              </c:extLst>
            </c:dLbl>
            <c:dLbl>
              <c:idx val="3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EB34-48EF-9DA3-4F2C5F08AA52}"/>
                </c:ext>
              </c:extLst>
            </c:dLbl>
            <c:dLbl>
              <c:idx val="4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EB34-48EF-9DA3-4F2C5F08AA52}"/>
                </c:ext>
              </c:extLst>
            </c:dLbl>
            <c:dLbl>
              <c:idx val="5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EB34-48EF-9DA3-4F2C5F08AA52}"/>
                </c:ext>
              </c:extLst>
            </c:dLbl>
            <c:dLbl>
              <c:idx val="6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EB34-48EF-9DA3-4F2C5F08AA52}"/>
                </c:ext>
              </c:extLst>
            </c:dLbl>
            <c:dLbl>
              <c:idx val="7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EB34-48EF-9DA3-4F2C5F08AA52}"/>
                </c:ext>
              </c:extLst>
            </c:dLbl>
            <c:dLbl>
              <c:idx val="8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EB34-48EF-9DA3-4F2C5F08AA52}"/>
                </c:ext>
              </c:extLst>
            </c:dLbl>
            <c:dLbl>
              <c:idx val="9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EB34-48EF-9DA3-4F2C5F08AA52}"/>
                </c:ext>
              </c:extLst>
            </c:dLbl>
            <c:dLbl>
              <c:idx val="10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EB34-48EF-9DA3-4F2C5F08AA52}"/>
                </c:ext>
              </c:extLst>
            </c:dLbl>
            <c:dLbl>
              <c:idx val="11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EB34-48EF-9DA3-4F2C5F08AA52}"/>
                </c:ext>
              </c:extLst>
            </c:dLbl>
            <c:dLbl>
              <c:idx val="12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EB34-48EF-9DA3-4F2C5F08AA52}"/>
                </c:ext>
              </c:extLst>
            </c:dLbl>
            <c:dLbl>
              <c:idx val="13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EB34-48EF-9DA3-4F2C5F08AA52}"/>
                </c:ext>
              </c:extLst>
            </c:dLbl>
            <c:dLbl>
              <c:idx val="14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EB34-48EF-9DA3-4F2C5F08AA52}"/>
                </c:ext>
              </c:extLst>
            </c:dLbl>
            <c:dLbl>
              <c:idx val="15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EB34-48EF-9DA3-4F2C5F08AA52}"/>
                </c:ext>
              </c:extLst>
            </c:dLbl>
            <c:dLbl>
              <c:idx val="16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EB34-48EF-9DA3-4F2C5F08AA5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Q$2</c:f>
              <c:numCache>
                <c:formatCode>General</c:formatCode>
                <c:ptCount val="17"/>
                <c:pt idx="0">
                  <c:v>30.123374330000001</c:v>
                </c:pt>
                <c:pt idx="1">
                  <c:v>28.842719640000002</c:v>
                </c:pt>
                <c:pt idx="2">
                  <c:v>31.013071730000004</c:v>
                </c:pt>
                <c:pt idx="3">
                  <c:v>31.519320349999997</c:v>
                </c:pt>
                <c:pt idx="4">
                  <c:v>29.457098679999994</c:v>
                </c:pt>
                <c:pt idx="5">
                  <c:v>29.412724849999996</c:v>
                </c:pt>
                <c:pt idx="6">
                  <c:v>31.237583749999995</c:v>
                </c:pt>
                <c:pt idx="7">
                  <c:v>30.197426360000001</c:v>
                </c:pt>
                <c:pt idx="8">
                  <c:v>31.591229220000002</c:v>
                </c:pt>
                <c:pt idx="9">
                  <c:v>30.285178299999998</c:v>
                </c:pt>
                <c:pt idx="10">
                  <c:v>30.811188379999997</c:v>
                </c:pt>
                <c:pt idx="11">
                  <c:v>29.458871519999999</c:v>
                </c:pt>
                <c:pt idx="12">
                  <c:v>30.597308829999996</c:v>
                </c:pt>
                <c:pt idx="13">
                  <c:v>31.606713018965173</c:v>
                </c:pt>
                <c:pt idx="14">
                  <c:v>31.103826460389069</c:v>
                </c:pt>
                <c:pt idx="15">
                  <c:v>31.101987260389066</c:v>
                </c:pt>
                <c:pt idx="16">
                  <c:v>31.4488376603890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3-EB34-48EF-9DA3-4F2C5F08AA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15032880"/>
        <c:axId val="1"/>
      </c:lineChart>
      <c:catAx>
        <c:axId val="17150328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1.606713018965173"/>
          <c:min val="0"/>
        </c:scaling>
        <c:delete val="1"/>
        <c:axPos val="r"/>
        <c:numFmt formatCode="General" sourceLinked="1"/>
        <c:majorTickMark val="out"/>
        <c:minorTickMark val="none"/>
        <c:tickLblPos val="nextTo"/>
        <c:crossAx val="1715032880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pPr>
            <a:r>
              <a:rPr lang="pt-BR" sz="1800" b="1" i="0" baseline="0">
                <a:latin typeface="+mj-lt"/>
              </a:rPr>
              <a:t>SLA</a:t>
            </a:r>
          </a:p>
        </c:rich>
      </c:tx>
      <c:layout>
        <c:manualLayout>
          <c:xMode val="edge"/>
          <c:yMode val="edge"/>
          <c:x val="0.48183896902389961"/>
          <c:y val="2.584350030879930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tx1"/>
              </a:solidFill>
              <a:latin typeface="+mj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2.8845638382054974E-2"/>
          <c:y val="0.16858203632537985"/>
          <c:w val="0.83030666706201539"/>
          <c:h val="0.41570898183730998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Agosto!$C$123</c:f>
              <c:strCache>
                <c:ptCount val="1"/>
                <c:pt idx="0">
                  <c:v>Acionamentos</c:v>
                </c:pt>
              </c:strCache>
            </c:strRef>
          </c:tx>
          <c:spPr>
            <a:solidFill>
              <a:schemeClr val="accent2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gosto!$A$124:$A$130</c:f>
              <c:strCache>
                <c:ptCount val="7"/>
                <c:pt idx="0">
                  <c:v>Segunda</c:v>
                </c:pt>
                <c:pt idx="1">
                  <c:v>Terça</c:v>
                </c:pt>
                <c:pt idx="2">
                  <c:v>Quarta</c:v>
                </c:pt>
                <c:pt idx="3">
                  <c:v>Quinta</c:v>
                </c:pt>
                <c:pt idx="4">
                  <c:v>Sexta</c:v>
                </c:pt>
                <c:pt idx="5">
                  <c:v>Domingo</c:v>
                </c:pt>
                <c:pt idx="6">
                  <c:v>Sábado</c:v>
                </c:pt>
              </c:strCache>
            </c:strRef>
          </c:cat>
          <c:val>
            <c:numRef>
              <c:f>Agosto!$C$124:$C$130</c:f>
              <c:numCache>
                <c:formatCode>0</c:formatCode>
                <c:ptCount val="7"/>
                <c:pt idx="0">
                  <c:v>12</c:v>
                </c:pt>
                <c:pt idx="1">
                  <c:v>12</c:v>
                </c:pt>
                <c:pt idx="2">
                  <c:v>7</c:v>
                </c:pt>
                <c:pt idx="3">
                  <c:v>13</c:v>
                </c:pt>
                <c:pt idx="4">
                  <c:v>13</c:v>
                </c:pt>
                <c:pt idx="5">
                  <c:v>7</c:v>
                </c:pt>
                <c:pt idx="6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2A-4740-9B4E-AA90B99010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4351007"/>
        <c:axId val="451036543"/>
      </c:barChart>
      <c:lineChart>
        <c:grouping val="standard"/>
        <c:varyColors val="0"/>
        <c:ser>
          <c:idx val="0"/>
          <c:order val="0"/>
          <c:tx>
            <c:v>Média do tempo de resposta</c:v>
          </c:tx>
          <c:spPr>
            <a:ln w="28575" cap="rnd" cmpd="sng" algn="ctr">
              <a:solidFill>
                <a:schemeClr val="accent2">
                  <a:tint val="77000"/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2"/>
              <c:layout>
                <c:manualLayout>
                  <c:x val="-2.1689306270364268E-2"/>
                  <c:y val="-1.33633280730618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72A-4740-9B4E-AA90B990109E}"/>
                </c:ext>
              </c:extLst>
            </c:dLbl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Agosto!$A$124:$A$130</c:f>
              <c:strCache>
                <c:ptCount val="7"/>
                <c:pt idx="0">
                  <c:v>Segunda</c:v>
                </c:pt>
                <c:pt idx="1">
                  <c:v>Terça</c:v>
                </c:pt>
                <c:pt idx="2">
                  <c:v>Quarta</c:v>
                </c:pt>
                <c:pt idx="3">
                  <c:v>Quinta</c:v>
                </c:pt>
                <c:pt idx="4">
                  <c:v>Sexta</c:v>
                </c:pt>
                <c:pt idx="5">
                  <c:v>Domingo</c:v>
                </c:pt>
                <c:pt idx="6">
                  <c:v>Sábado</c:v>
                </c:pt>
              </c:strCache>
            </c:strRef>
          </c:cat>
          <c:val>
            <c:numRef>
              <c:f>Agosto!$B$124:$B$130</c:f>
              <c:numCache>
                <c:formatCode>[$-F400]h:mm:ss\ AM/PM</c:formatCode>
                <c:ptCount val="7"/>
                <c:pt idx="0">
                  <c:v>7.5810185185185399E-3</c:v>
                </c:pt>
                <c:pt idx="1">
                  <c:v>9.432870370370397E-3</c:v>
                </c:pt>
                <c:pt idx="2">
                  <c:v>6.7460317460317698E-3</c:v>
                </c:pt>
                <c:pt idx="3">
                  <c:v>7.0512820512820523E-3</c:v>
                </c:pt>
                <c:pt idx="4">
                  <c:v>2.2222222222222202E-2</c:v>
                </c:pt>
                <c:pt idx="5">
                  <c:v>7.0436507936508085E-3</c:v>
                </c:pt>
                <c:pt idx="6">
                  <c:v>3.187499999999999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72A-4740-9B4E-AA90B99010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9621967"/>
        <c:axId val="451019903"/>
      </c:lineChart>
      <c:valAx>
        <c:axId val="451036543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84351007"/>
        <c:crosses val="max"/>
        <c:crossBetween val="between"/>
      </c:valAx>
      <c:catAx>
        <c:axId val="58435100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51036543"/>
        <c:crosses val="autoZero"/>
        <c:auto val="1"/>
        <c:lblAlgn val="ctr"/>
        <c:lblOffset val="100"/>
        <c:noMultiLvlLbl val="0"/>
      </c:catAx>
      <c:valAx>
        <c:axId val="451019903"/>
        <c:scaling>
          <c:orientation val="minMax"/>
        </c:scaling>
        <c:delete val="0"/>
        <c:axPos val="l"/>
        <c:numFmt formatCode="[$-F400]h:mm:ss\ AM/PM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29621967"/>
        <c:crosses val="autoZero"/>
        <c:crossBetween val="between"/>
      </c:valAx>
      <c:catAx>
        <c:axId val="42962196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51019903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</c:dTable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4.4506168487146495E-2"/>
          <c:y val="0.18517770129357028"/>
          <c:w val="0.93833355402981544"/>
          <c:h val="0.5913170986757661"/>
        </c:manualLayout>
      </c:layout>
      <c:lineChart>
        <c:grouping val="standard"/>
        <c:varyColors val="0"/>
        <c:ser>
          <c:idx val="0"/>
          <c:order val="0"/>
          <c:tx>
            <c:strRef>
              <c:f>Agosto!$E$84</c:f>
              <c:strCache>
                <c:ptCount val="1"/>
                <c:pt idx="0">
                  <c:v>Acionamentos por mê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gosto!$D$85:$D$96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Agosto!$E$85:$E$96</c:f>
              <c:numCache>
                <c:formatCode>General</c:formatCode>
                <c:ptCount val="12"/>
                <c:pt idx="0">
                  <c:v>69</c:v>
                </c:pt>
                <c:pt idx="1">
                  <c:v>86</c:v>
                </c:pt>
                <c:pt idx="2">
                  <c:v>103</c:v>
                </c:pt>
                <c:pt idx="3">
                  <c:v>110</c:v>
                </c:pt>
                <c:pt idx="4">
                  <c:v>80</c:v>
                </c:pt>
                <c:pt idx="5">
                  <c:v>70</c:v>
                </c:pt>
                <c:pt idx="6">
                  <c:v>82</c:v>
                </c:pt>
                <c:pt idx="7">
                  <c:v>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3D7-478A-97E9-76C2A3A274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03828144"/>
        <c:axId val="1879336607"/>
      </c:lineChart>
      <c:catAx>
        <c:axId val="1003828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879336607"/>
        <c:crosses val="autoZero"/>
        <c:auto val="1"/>
        <c:lblAlgn val="ctr"/>
        <c:lblOffset val="100"/>
        <c:noMultiLvlLbl val="0"/>
      </c:catAx>
      <c:valAx>
        <c:axId val="187933660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003828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pivotSource>
    <c:name>[indicadores conselho gestor - 2025 atualizado.xlsx]Agosto!Tabela dinâmica17</c:name>
    <c:fmtId val="5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none" spc="0" normalizeH="0" baseline="0">
                <a:solidFill>
                  <a:schemeClr val="dk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pt-BR"/>
              <a:t>Principais Motivos -</a:t>
            </a:r>
            <a:r>
              <a:rPr lang="pt-BR" baseline="0"/>
              <a:t> Agosto</a:t>
            </a:r>
            <a:r>
              <a:rPr lang="pt-BR"/>
              <a:t> 2025</a:t>
            </a:r>
          </a:p>
        </c:rich>
      </c:tx>
      <c:layout>
        <c:manualLayout>
          <c:xMode val="edge"/>
          <c:yMode val="edge"/>
          <c:x val="0.33517889515497268"/>
          <c:y val="3.627941433662154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none" spc="0" normalizeH="0" baseline="0">
              <a:solidFill>
                <a:schemeClr val="dk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defRPr>
          </a:pPr>
          <a:endParaRPr lang="pt-BR"/>
        </a:p>
      </c:txPr>
    </c:title>
    <c:autoTitleDeleted val="0"/>
    <c:pivotFmts>
      <c:pivotFmt>
        <c:idx val="0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2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5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6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1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2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3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4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5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6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7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8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9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0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1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2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3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4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5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6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7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8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9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0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1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2"/>
        <c:dLbl>
          <c:idx val="0"/>
          <c:layout>
            <c:manualLayout>
              <c:x val="4.8452306352320298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3"/>
        <c:dLbl>
          <c:idx val="0"/>
          <c:layout>
            <c:manualLayout>
              <c:x val="6.0328092595014905E-2"/>
              <c:y val="-3.4208551491412666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4"/>
        <c:dLbl>
          <c:idx val="0"/>
          <c:layout>
            <c:manualLayout>
              <c:x val="0.11368154651397162"/>
              <c:y val="-6.8417102982824109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5"/>
        <c:dLbl>
          <c:idx val="0"/>
          <c:layout>
            <c:manualLayout>
              <c:x val="0.2625257323303824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6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7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8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9"/>
        <c:dLbl>
          <c:idx val="0"/>
          <c:layout>
            <c:manualLayout>
              <c:x val="4.8452306352320298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0"/>
        <c:dLbl>
          <c:idx val="0"/>
          <c:layout>
            <c:manualLayout>
              <c:x val="6.0328092595014905E-2"/>
              <c:y val="-3.4208551491412666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1"/>
        <c:dLbl>
          <c:idx val="0"/>
          <c:layout>
            <c:manualLayout>
              <c:x val="0.11368154651397162"/>
              <c:y val="-6.8417102982824109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2"/>
        <c:dLbl>
          <c:idx val="0"/>
          <c:layout>
            <c:manualLayout>
              <c:x val="0.2625257323303824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3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in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4"/>
        <c:dLbl>
          <c:idx val="0"/>
          <c:layout>
            <c:manualLayout>
              <c:x val="0.25591588127255638"/>
              <c:y val="0"/>
            </c:manualLayout>
          </c:layout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5"/>
        <c:dLbl>
          <c:idx val="0"/>
          <c:layout>
            <c:manualLayout>
              <c:x val="6.5973652807393313E-2"/>
              <c:y val="0"/>
            </c:manualLayout>
          </c:layout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6"/>
        <c:dLbl>
          <c:idx val="0"/>
          <c:layout>
            <c:manualLayout>
              <c:x val="2.8318947711053095E-2"/>
              <c:y val="-6.2714953245764012E-17"/>
            </c:manualLayout>
          </c:layout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7"/>
        <c:dLbl>
          <c:idx val="0"/>
          <c:layout>
            <c:manualLayout>
              <c:x val="1.7117790911557237E-2"/>
              <c:y val="0"/>
            </c:manualLayout>
          </c:layout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8"/>
        <c:dLbl>
          <c:idx val="0"/>
          <c:layout>
            <c:manualLayout>
              <c:x val="1.4608371520546901E-2"/>
              <c:y val="-1.25429906491528E-16"/>
            </c:manualLayout>
          </c:layout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6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31042442952413474"/>
          <c:y val="0.14232131753628816"/>
          <c:w val="0.64843090889460264"/>
          <c:h val="0.8358042005420116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Agosto!$B$10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gosto!$A$103:$A$108</c:f>
              <c:strCache>
                <c:ptCount val="5"/>
                <c:pt idx="0">
                  <c:v>Informações sobre Pacientes</c:v>
                </c:pt>
                <c:pt idx="1">
                  <c:v>Solicitação de Leito</c:v>
                </c:pt>
                <c:pt idx="2">
                  <c:v>Solicitação de cirurgia</c:v>
                </c:pt>
                <c:pt idx="3">
                  <c:v>Transferência via CROSS</c:v>
                </c:pt>
                <c:pt idx="4">
                  <c:v>Agendamento de Consulta</c:v>
                </c:pt>
              </c:strCache>
            </c:strRef>
          </c:cat>
          <c:val>
            <c:numRef>
              <c:f>Agosto!$B$103:$B$108</c:f>
              <c:numCache>
                <c:formatCode>General</c:formatCode>
                <c:ptCount val="5"/>
                <c:pt idx="0">
                  <c:v>49</c:v>
                </c:pt>
                <c:pt idx="1">
                  <c:v>7</c:v>
                </c:pt>
                <c:pt idx="2">
                  <c:v>7</c:v>
                </c:pt>
                <c:pt idx="3">
                  <c:v>5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DB-4975-9D5A-0D28B03B57F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21001088"/>
        <c:axId val="121002624"/>
      </c:barChart>
      <c:catAx>
        <c:axId val="1210010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21002624"/>
        <c:crosses val="autoZero"/>
        <c:auto val="1"/>
        <c:lblAlgn val="ctr"/>
        <c:lblOffset val="100"/>
        <c:noMultiLvlLbl val="0"/>
      </c:catAx>
      <c:valAx>
        <c:axId val="121002624"/>
        <c:scaling>
          <c:orientation val="minMax"/>
          <c:max val="50"/>
        </c:scaling>
        <c:delete val="0"/>
        <c:axPos val="t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21001088"/>
        <c:crosses val="autoZero"/>
        <c:crossBetween val="between"/>
        <c:majorUnit val="0.1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pivotSource>
    <c:name>[indicadores conselho gestor - 2025 atualizado.xlsx]Julho!Tabela dinâmica36</c:name>
    <c:fmtId val="28"/>
  </c:pivotSource>
  <c:chart>
    <c:title>
      <c:tx>
        <c:rich>
          <a:bodyPr rot="0" spcFirstLastPara="1" vertOverflow="ellipsis" vert="horz" wrap="square" anchor="ctr" anchorCtr="1"/>
          <a:lstStyle/>
          <a:p>
            <a:pPr algn="ctr">
              <a:defRPr sz="2000" b="1" i="0" u="none" strike="noStrike" kern="1200" cap="none" spc="0" normalizeH="0" baseline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pt-BR" b="1">
                <a:solidFill>
                  <a:schemeClr val="bg1">
                    <a:lumMod val="50000"/>
                  </a:schemeClr>
                </a:solidFill>
              </a:rPr>
              <a:t>Canal de Comunicação</a:t>
            </a:r>
          </a:p>
        </c:rich>
      </c:tx>
      <c:layout>
        <c:manualLayout>
          <c:xMode val="edge"/>
          <c:yMode val="edge"/>
          <c:x val="0.22144775220578941"/>
          <c:y val="2.3835582099117982E-2"/>
        </c:manualLayout>
      </c:layout>
      <c:overlay val="0"/>
      <c:spPr>
        <a:noFill/>
        <a:ln>
          <a:noFill/>
        </a:ln>
        <a:effectLst/>
      </c:spPr>
    </c:title>
    <c:autoTitleDeleted val="0"/>
    <c:pivotFmts>
      <c:pivotFmt>
        <c:idx val="0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400" b="1">
                  <a:solidFill>
                    <a:schemeClr val="bg1"/>
                  </a:solidFill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dLbl>
          <c:idx val="0"/>
          <c:layout>
            <c:manualLayout>
              <c:x val="0"/>
              <c:y val="2.8717957994898607E-2"/>
            </c:manualLayout>
          </c:layout>
          <c:tx>
            <c:rich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fld id="{ECA1BDEA-8BA1-4EE6-A7EE-C4DD9C1FF29E}" type="VALUE">
                  <a:rPr lang="en-US"/>
                  <a:pPr>
                    <a:defRPr sz="1400" b="1">
                      <a:solidFill>
                        <a:schemeClr val="bg1"/>
                      </a:solidFill>
                    </a:defRPr>
                  </a:pPr>
                  <a:t>[VALOR]</a:t>
                </a:fld>
                <a:endParaRPr lang="en-US"/>
              </a:p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r>
                  <a:rPr lang="en-US"/>
                  <a:t>100%</a:t>
                </a:r>
              </a:p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BR"/>
              </a:p>
            </c:rich>
          </c:tx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showDataLabelsRange val="0"/>
            </c:ext>
          </c:extLst>
        </c:dLbl>
      </c:pivotFmt>
      <c:pivotFmt>
        <c:idx val="2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400" b="1">
                  <a:solidFill>
                    <a:schemeClr val="bg1"/>
                  </a:solidFill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dLbl>
          <c:idx val="0"/>
          <c:layout>
            <c:manualLayout>
              <c:x val="0"/>
              <c:y val="2.8717957994898607E-2"/>
            </c:manualLayout>
          </c:layout>
          <c:tx>
            <c:rich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r>
                  <a:rPr lang="en-US"/>
                  <a:t>82</a:t>
                </a:r>
              </a:p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r>
                  <a:rPr lang="en-US"/>
                  <a:t>100%</a:t>
                </a:r>
              </a:p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en-US"/>
              </a:p>
            </c:rich>
          </c:tx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showDataLabelsRange val="0"/>
            </c:ext>
          </c:extLst>
        </c:dLbl>
      </c:pivotFmt>
      <c:pivotFmt>
        <c:idx val="4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400" b="1">
                  <a:solidFill>
                    <a:schemeClr val="bg1"/>
                  </a:solidFill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dLbl>
          <c:idx val="0"/>
          <c:layout>
            <c:manualLayout>
              <c:x val="0"/>
              <c:y val="2.8717957994898607E-2"/>
            </c:manualLayout>
          </c:layout>
          <c:tx>
            <c:rich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r>
                  <a:rPr lang="en-US"/>
                  <a:t>82</a:t>
                </a:r>
              </a:p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r>
                  <a:rPr lang="en-US"/>
                  <a:t>100%</a:t>
                </a:r>
              </a:p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en-US"/>
              </a:p>
            </c:rich>
          </c:tx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showDataLabelsRange val="0"/>
            </c:ext>
          </c:extLst>
        </c:dLbl>
      </c:pivotFmt>
      <c:pivotFmt>
        <c:idx val="6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400" b="1">
                  <a:solidFill>
                    <a:schemeClr val="bg1"/>
                  </a:solidFill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dLbl>
          <c:idx val="0"/>
          <c:layout>
            <c:manualLayout>
              <c:x val="0"/>
              <c:y val="2.8717957994898607E-2"/>
            </c:manualLayout>
          </c:layout>
          <c:tx>
            <c:rich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r>
                  <a:rPr lang="en-US"/>
                  <a:t>74</a:t>
                </a:r>
              </a:p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r>
                  <a:rPr lang="en-US"/>
                  <a:t>100%</a:t>
                </a:r>
              </a:p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en-US"/>
              </a:p>
            </c:rich>
          </c:tx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showDataLabelsRange val="0"/>
            </c:ext>
          </c:extLst>
        </c:dLbl>
      </c:pivotFmt>
      <c:pivotFmt>
        <c:idx val="8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400" b="1">
                  <a:solidFill>
                    <a:schemeClr val="bg1"/>
                  </a:solidFill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dLbl>
          <c:idx val="0"/>
          <c:layout>
            <c:manualLayout>
              <c:x val="0"/>
              <c:y val="2.8717957994898607E-2"/>
            </c:manualLayout>
          </c:layout>
          <c:tx>
            <c:rich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r>
                  <a:rPr lang="en-US"/>
                  <a:t>74</a:t>
                </a:r>
              </a:p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r>
                  <a:rPr lang="en-US"/>
                  <a:t>100%</a:t>
                </a:r>
              </a:p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en-US"/>
              </a:p>
            </c:rich>
          </c:tx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showDataLabelsRange val="0"/>
            </c:ext>
          </c:extLst>
        </c:dLbl>
      </c:pivotFmt>
      <c:pivotFmt>
        <c:idx val="10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400" b="1">
                  <a:solidFill>
                    <a:schemeClr val="bg1"/>
                  </a:solidFill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dLbl>
          <c:idx val="0"/>
          <c:layout>
            <c:manualLayout>
              <c:x val="0"/>
              <c:y val="2.8717957994898607E-2"/>
            </c:manualLayout>
          </c:layout>
          <c:tx>
            <c:rich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r>
                  <a:rPr lang="en-US"/>
                  <a:t>74</a:t>
                </a:r>
              </a:p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r>
                  <a:rPr lang="en-US"/>
                  <a:t>100%</a:t>
                </a:r>
              </a:p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en-US"/>
              </a:p>
            </c:rich>
          </c:tx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showDataLabelsRange val="0"/>
            </c:ext>
          </c:extLst>
        </c:dLbl>
      </c:pivotFmt>
    </c:pivotFmts>
    <c:plotArea>
      <c:layout>
        <c:manualLayout>
          <c:layoutTarget val="inner"/>
          <c:xMode val="edge"/>
          <c:yMode val="edge"/>
          <c:x val="0.26282372030884427"/>
          <c:y val="0.12487046230420749"/>
          <c:w val="0.47288151032897585"/>
          <c:h val="0.82337066775551548"/>
        </c:manualLayout>
      </c:layout>
      <c:doughnutChart>
        <c:varyColors val="1"/>
        <c:ser>
          <c:idx val="0"/>
          <c:order val="0"/>
          <c:tx>
            <c:strRef>
              <c:f>Julho!$I$102</c:f>
              <c:strCache>
                <c:ptCount val="1"/>
                <c:pt idx="0">
                  <c:v>Total</c:v>
                </c:pt>
              </c:strCache>
            </c:strRef>
          </c:tx>
          <c:dLbls>
            <c:dLbl>
              <c:idx val="0"/>
              <c:layout>
                <c:manualLayout>
                  <c:x val="0"/>
                  <c:y val="2.8717957994898607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74</a:t>
                    </a:r>
                  </a:p>
                  <a:p>
                    <a:r>
                      <a:rPr lang="en-US"/>
                      <a:t>100%</a:t>
                    </a:r>
                  </a:p>
                  <a:p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2371-406F-A98A-EB3267707F8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Julho!$H$103:$H$104</c:f>
              <c:strCache>
                <c:ptCount val="1"/>
                <c:pt idx="0">
                  <c:v>Telefone</c:v>
                </c:pt>
              </c:strCache>
            </c:strRef>
          </c:cat>
          <c:val>
            <c:numRef>
              <c:f>Julho!$I$103:$I$104</c:f>
              <c:numCache>
                <c:formatCode>General</c:formatCode>
                <c:ptCount val="1"/>
                <c:pt idx="0">
                  <c:v>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371-406F-A98A-EB3267707F8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78846873885464575"/>
          <c:y val="0.47590626134635527"/>
          <c:w val="0.18078161219096034"/>
          <c:h val="7.916174574173090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2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 sz="1800" b="1" i="0" baseline="0"/>
              <a:t>Tempo médio de higienização </a:t>
            </a:r>
            <a:endParaRPr lang="pt-BR"/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1.6107222222222221E-2"/>
          <c:y val="0.19858055555555537"/>
          <c:w val="0.96573824336760961"/>
          <c:h val="0.56896737338724757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Planilha1!$C$2</c:f>
              <c:strCache>
                <c:ptCount val="1"/>
                <c:pt idx="0">
                  <c:v>Tempo médio de duração </c:v>
                </c:pt>
              </c:strCache>
            </c:strRef>
          </c:tx>
          <c:spPr>
            <a:gradFill flip="none" rotWithShape="1">
              <a:gsLst>
                <a:gs pos="0">
                  <a:srgbClr val="008080">
                    <a:shade val="30000"/>
                    <a:satMod val="115000"/>
                  </a:srgbClr>
                </a:gs>
                <a:gs pos="50000">
                  <a:srgbClr val="008080">
                    <a:shade val="67500"/>
                    <a:satMod val="115000"/>
                  </a:srgbClr>
                </a:gs>
                <a:gs pos="100000">
                  <a:srgbClr val="008080">
                    <a:shade val="100000"/>
                    <a:satMod val="115000"/>
                  </a:srgbClr>
                </a:gs>
              </a:gsLst>
              <a:lin ang="18900000" scaled="1"/>
              <a:tileRect/>
            </a:gra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B06-4A09-A5B2-4A8B8589FD8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ilha1!$A$3:$A$8</c:f>
              <c:strCache>
                <c:ptCount val="6"/>
                <c:pt idx="0">
                  <c:v>mar</c:v>
                </c:pt>
                <c:pt idx="1">
                  <c:v>abr</c:v>
                </c:pt>
                <c:pt idx="2">
                  <c:v>mai</c:v>
                </c:pt>
                <c:pt idx="3">
                  <c:v>jun</c:v>
                </c:pt>
                <c:pt idx="4">
                  <c:v>jul</c:v>
                </c:pt>
                <c:pt idx="5">
                  <c:v>ago</c:v>
                </c:pt>
              </c:strCache>
            </c:strRef>
          </c:cat>
          <c:val>
            <c:numRef>
              <c:f>Planilha1!$C$3:$C$8</c:f>
              <c:numCache>
                <c:formatCode>h:mm:ss</c:formatCode>
                <c:ptCount val="6"/>
                <c:pt idx="0">
                  <c:v>1.0081018518518519E-2</c:v>
                </c:pt>
                <c:pt idx="1">
                  <c:v>9.6296296296296303E-3</c:v>
                </c:pt>
                <c:pt idx="2">
                  <c:v>9.3749999999999997E-3</c:v>
                </c:pt>
                <c:pt idx="3">
                  <c:v>9.2129629629629627E-3</c:v>
                </c:pt>
                <c:pt idx="4">
                  <c:v>8.0787037037037043E-3</c:v>
                </c:pt>
                <c:pt idx="5">
                  <c:v>8.020833333333332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06-4A09-A5B2-4A8B8589FD8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103812480"/>
        <c:axId val="103875712"/>
      </c:barChart>
      <c:catAx>
        <c:axId val="1038124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pt-BR"/>
          </a:p>
        </c:txPr>
        <c:crossAx val="103875712"/>
        <c:crosses val="autoZero"/>
        <c:auto val="1"/>
        <c:lblAlgn val="ctr"/>
        <c:lblOffset val="100"/>
        <c:noMultiLvlLbl val="1"/>
      </c:catAx>
      <c:valAx>
        <c:axId val="103875712"/>
        <c:scaling>
          <c:orientation val="minMax"/>
          <c:min val="0"/>
        </c:scaling>
        <c:delete val="1"/>
        <c:axPos val="l"/>
        <c:numFmt formatCode="h:mm:ss" sourceLinked="1"/>
        <c:majorTickMark val="out"/>
        <c:minorTickMark val="none"/>
        <c:tickLblPos val="nextTo"/>
        <c:crossAx val="103812480"/>
        <c:crosses val="autoZero"/>
        <c:crossBetween val="between"/>
      </c:valAx>
    </c:plotArea>
    <c:plotVisOnly val="1"/>
    <c:dispBlanksAs val="gap"/>
    <c:showDLblsOverMax val="0"/>
  </c:chart>
  <c:spPr>
    <a:solidFill>
      <a:sysClr val="window" lastClr="FFFFFF"/>
    </a:solidFill>
    <a:ln>
      <a:solidFill>
        <a:srgbClr val="E7E6E6">
          <a:lumMod val="90000"/>
        </a:srgbClr>
      </a:solidFill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714438932832823E-3"/>
          <c:y val="0.27047619047619048"/>
          <c:w val="0.9860571122134334"/>
          <c:h val="0.4590476190476190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2FA-45EE-B3E9-78D294C27984}"/>
              </c:ext>
            </c:extLst>
          </c:dPt>
          <c:dPt>
            <c:idx val="1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2FA-45EE-B3E9-78D294C27984}"/>
              </c:ext>
            </c:extLst>
          </c:dPt>
          <c:dPt>
            <c:idx val="2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72FA-45EE-B3E9-78D294C27984}"/>
              </c:ext>
            </c:extLst>
          </c:dPt>
          <c:dPt>
            <c:idx val="3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2FA-45EE-B3E9-78D294C27984}"/>
              </c:ext>
            </c:extLst>
          </c:dPt>
          <c:dPt>
            <c:idx val="4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72FA-45EE-B3E9-78D294C27984}"/>
              </c:ext>
            </c:extLst>
          </c:dPt>
          <c:dPt>
            <c:idx val="13"/>
            <c:invertIfNegative val="0"/>
            <c:bubble3D val="0"/>
            <c:spPr>
              <a:pattFill prst="ltDnDiag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72FA-45EE-B3E9-78D294C27984}"/>
              </c:ext>
            </c:extLst>
          </c:dPt>
          <c:dPt>
            <c:idx val="14"/>
            <c:invertIfNegative val="0"/>
            <c:bubble3D val="0"/>
            <c:spPr>
              <a:pattFill prst="ltDnDiag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72FA-45EE-B3E9-78D294C27984}"/>
              </c:ext>
            </c:extLst>
          </c:dPt>
          <c:dPt>
            <c:idx val="15"/>
            <c:invertIfNegative val="0"/>
            <c:bubble3D val="0"/>
            <c:spPr>
              <a:pattFill prst="ltDnDiag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72FA-45EE-B3E9-78D294C27984}"/>
              </c:ext>
            </c:extLst>
          </c:dPt>
          <c:dPt>
            <c:idx val="16"/>
            <c:invertIfNegative val="0"/>
            <c:bubble3D val="0"/>
            <c:spPr>
              <a:pattFill prst="ltDnDiag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72FA-45EE-B3E9-78D294C27984}"/>
              </c:ext>
            </c:extLst>
          </c:dPt>
          <c:dLbls>
            <c:dLbl>
              <c:idx val="0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2FA-45EE-B3E9-78D294C27984}"/>
                </c:ext>
              </c:extLst>
            </c:dLbl>
            <c:dLbl>
              <c:idx val="1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2FA-45EE-B3E9-78D294C27984}"/>
                </c:ext>
              </c:extLst>
            </c:dLbl>
            <c:dLbl>
              <c:idx val="2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2FA-45EE-B3E9-78D294C27984}"/>
                </c:ext>
              </c:extLst>
            </c:dLbl>
            <c:dLbl>
              <c:idx val="3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2FA-45EE-B3E9-78D294C27984}"/>
                </c:ext>
              </c:extLst>
            </c:dLbl>
            <c:dLbl>
              <c:idx val="4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2FA-45EE-B3E9-78D294C27984}"/>
                </c:ext>
              </c:extLst>
            </c:dLbl>
            <c:dLbl>
              <c:idx val="5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72FA-45EE-B3E9-78D294C27984}"/>
                </c:ext>
              </c:extLst>
            </c:dLbl>
            <c:dLbl>
              <c:idx val="6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72FA-45EE-B3E9-78D294C27984}"/>
                </c:ext>
              </c:extLst>
            </c:dLbl>
            <c:dLbl>
              <c:idx val="7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72FA-45EE-B3E9-78D294C27984}"/>
                </c:ext>
              </c:extLst>
            </c:dLbl>
            <c:dLbl>
              <c:idx val="8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72FA-45EE-B3E9-78D294C2798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Q$1</c:f>
              <c:numCache>
                <c:formatCode>General</c:formatCode>
                <c:ptCount val="17"/>
                <c:pt idx="0">
                  <c:v>20.9468139400003</c:v>
                </c:pt>
                <c:pt idx="1">
                  <c:v>22.0016476400003</c:v>
                </c:pt>
                <c:pt idx="2">
                  <c:v>21.588099220000302</c:v>
                </c:pt>
                <c:pt idx="3">
                  <c:v>18.15606893</c:v>
                </c:pt>
                <c:pt idx="4">
                  <c:v>11.7</c:v>
                </c:pt>
                <c:pt idx="5">
                  <c:v>11.7620454</c:v>
                </c:pt>
                <c:pt idx="6">
                  <c:v>12.36141716</c:v>
                </c:pt>
                <c:pt idx="7">
                  <c:v>10.4627929</c:v>
                </c:pt>
                <c:pt idx="8">
                  <c:v>10.301940099999999</c:v>
                </c:pt>
                <c:pt idx="9">
                  <c:v>9.351561450000009</c:v>
                </c:pt>
                <c:pt idx="10">
                  <c:v>8.0731828000000103</c:v>
                </c:pt>
                <c:pt idx="11">
                  <c:v>7.6171828000000099</c:v>
                </c:pt>
                <c:pt idx="12">
                  <c:v>6.856182799999992</c:v>
                </c:pt>
                <c:pt idx="13">
                  <c:v>6.1083538129969668</c:v>
                </c:pt>
                <c:pt idx="14">
                  <c:v>5.1119147491380232</c:v>
                </c:pt>
                <c:pt idx="15">
                  <c:v>-4.8889625000813339</c:v>
                </c:pt>
                <c:pt idx="16">
                  <c:v>-14.6107495971657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72FA-45EE-B3E9-78D294C279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900600735"/>
        <c:axId val="1"/>
      </c:barChart>
      <c:catAx>
        <c:axId val="9006007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2.0016476400003"/>
          <c:min val="-14.610749597165739"/>
        </c:scaling>
        <c:delete val="1"/>
        <c:axPos val="r"/>
        <c:numFmt formatCode="General" sourceLinked="1"/>
        <c:majorTickMark val="out"/>
        <c:minorTickMark val="none"/>
        <c:tickLblPos val="nextTo"/>
        <c:crossAx val="900600735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8604305864884926E-2"/>
          <c:y val="0.17647058823529413"/>
          <c:w val="0.92279138827023011"/>
          <c:h val="0.647058823529411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F8EF9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00386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364-484F-8C65-DEE6BDF5EC2C}"/>
              </c:ext>
            </c:extLst>
          </c:dPt>
          <c:dLbls>
            <c:dLbl>
              <c:idx val="0"/>
              <c:layout>
                <c:manualLayout>
                  <c:x val="0"/>
                  <c:y val="-4.201680672268907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364-484F-8C65-DEE6BDF5EC2C}"/>
                </c:ext>
              </c:extLst>
            </c:dLbl>
            <c:dLbl>
              <c:idx val="2"/>
              <c:layout>
                <c:manualLayout>
                  <c:x val="0"/>
                  <c:y val="-4.201680672268907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364-484F-8C65-DEE6BDF5EC2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26.998687</c:v>
                </c:pt>
                <c:pt idx="1">
                  <c:v>6.1878029999999994E-2</c:v>
                </c:pt>
                <c:pt idx="2">
                  <c:v>28.348621353243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364-484F-8C65-DEE6BDF5EC2C}"/>
            </c:ext>
          </c:extLst>
        </c:ser>
        <c:ser>
          <c:idx val="1"/>
          <c:order val="1"/>
          <c:spPr>
            <a:solidFill>
              <a:srgbClr val="00386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2F8EF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6364-484F-8C65-DEE6BDF5EC2C}"/>
              </c:ext>
            </c:extLst>
          </c:dPt>
          <c:dLbls>
            <c:dLbl>
              <c:idx val="1"/>
              <c:layout>
                <c:manualLayout>
                  <c:x val="0"/>
                  <c:y val="-4.201680672268907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364-484F-8C65-DEE6BDF5EC2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-5.5630680000000009E-2</c:v>
                </c:pt>
                <c:pt idx="1">
                  <c:v>28.348621000000001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364-484F-8C65-DEE6BDF5EC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22598783"/>
        <c:axId val="1"/>
      </c:barChart>
      <c:catAx>
        <c:axId val="9225987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969696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8.41049903"/>
          <c:min val="-5.5630680000000009E-2"/>
        </c:scaling>
        <c:delete val="1"/>
        <c:axPos val="l"/>
        <c:numFmt formatCode="General" sourceLinked="1"/>
        <c:majorTickMark val="out"/>
        <c:minorTickMark val="none"/>
        <c:tickLblPos val="nextTo"/>
        <c:crossAx val="92259878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068369646882047E-2"/>
          <c:y val="0.30057803468208094"/>
          <c:w val="0.92186326070623592"/>
          <c:h val="0.398843930635838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F0-4639-8E61-792F35D455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50141807"/>
        <c:axId val="1"/>
      </c:barChart>
      <c:catAx>
        <c:axId val="205014180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96969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5014180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955414012738854"/>
          <c:y val="0.17427385892116182"/>
          <c:w val="0.78152866242038221"/>
          <c:h val="0.651452282157676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F8EF9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00386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31B-4C75-9403-5077873DA95B}"/>
              </c:ext>
            </c:extLst>
          </c:dPt>
          <c:dLbls>
            <c:dLbl>
              <c:idx val="0"/>
              <c:layout>
                <c:manualLayout>
                  <c:x val="0"/>
                  <c:y val="-3.112033195020746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31B-4C75-9403-5077873DA95B}"/>
                </c:ext>
              </c:extLst>
            </c:dLbl>
            <c:dLbl>
              <c:idx val="2"/>
              <c:layout>
                <c:manualLayout>
                  <c:x val="0"/>
                  <c:y val="-3.112033195020746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31B-4C75-9403-5077873DA95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215.98949599999997</c:v>
                </c:pt>
                <c:pt idx="1">
                  <c:v>0.47983841999999993</c:v>
                </c:pt>
                <c:pt idx="2">
                  <c:v>226.788970825944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31B-4C75-9403-5077873DA95B}"/>
            </c:ext>
          </c:extLst>
        </c:ser>
        <c:ser>
          <c:idx val="1"/>
          <c:order val="1"/>
          <c:spPr>
            <a:solidFill>
              <a:srgbClr val="00386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2F8EF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F31B-4C75-9403-5077873DA95B}"/>
              </c:ext>
            </c:extLst>
          </c:dPt>
          <c:dLbls>
            <c:dLbl>
              <c:idx val="1"/>
              <c:layout>
                <c:manualLayout>
                  <c:x val="0"/>
                  <c:y val="-3.112033195020746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31B-4C75-9403-5077873DA95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-0.41197809000000002</c:v>
                </c:pt>
                <c:pt idx="1">
                  <c:v>226.78896800000004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31B-4C75-9403-5077873DA9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92636336"/>
        <c:axId val="1"/>
      </c:barChart>
      <c:catAx>
        <c:axId val="11926363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969696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27.26880642000003"/>
          <c:min val="-0.41197809000000002"/>
        </c:scaling>
        <c:delete val="1"/>
        <c:axPos val="l"/>
        <c:numFmt formatCode="General" sourceLinked="1"/>
        <c:majorTickMark val="out"/>
        <c:minorTickMark val="none"/>
        <c:tickLblPos val="nextTo"/>
        <c:crossAx val="11926363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543726235741442E-2"/>
          <c:y val="0.15249266862170088"/>
          <c:w val="0.92091254752851714"/>
          <c:h val="0.6950146627565982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E6-433B-BBFE-E1CA8C9DD1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32415695"/>
        <c:axId val="1"/>
      </c:barChart>
      <c:catAx>
        <c:axId val="12324156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96969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324156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456362937331795E-2"/>
          <c:y val="0.34078212290502791"/>
          <c:w val="0.97308727412533635"/>
          <c:h val="0.33100558659217877"/>
        </c:manualLayout>
      </c:layout>
      <c:lineChart>
        <c:grouping val="standard"/>
        <c:varyColors val="0"/>
        <c:ser>
          <c:idx val="0"/>
          <c:order val="0"/>
          <c:spPr>
            <a:ln w="9525" cmpd="sng" algn="ctr">
              <a:solidFill>
                <a:srgbClr val="969696"/>
              </a:solidFill>
              <a:prstDash val="lgDash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090E-499B-AD99-692E50913BB8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090E-499B-AD99-692E50913BB8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090E-499B-AD99-692E50913BB8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090E-499B-AD99-692E50913BB8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090E-499B-AD99-692E50913BB8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090E-499B-AD99-692E50913BB8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090E-499B-AD99-692E50913BB8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090E-499B-AD99-692E50913BB8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090E-499B-AD99-692E50913BB8}"/>
              </c:ext>
            </c:extLst>
          </c:dPt>
          <c:dPt>
            <c:idx val="9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090E-499B-AD99-692E50913BB8}"/>
              </c:ext>
            </c:extLst>
          </c:dPt>
          <c:dPt>
            <c:idx val="10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090E-499B-AD99-692E50913BB8}"/>
              </c:ext>
            </c:extLst>
          </c:dPt>
          <c:dPt>
            <c:idx val="11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090E-499B-AD99-692E50913BB8}"/>
              </c:ext>
            </c:extLst>
          </c:dPt>
          <c:dLbls>
            <c:dLbl>
              <c:idx val="0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90E-499B-AD99-692E50913BB8}"/>
                </c:ext>
              </c:extLst>
            </c:dLbl>
            <c:dLbl>
              <c:idx val="1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90E-499B-AD99-692E50913BB8}"/>
                </c:ext>
              </c:extLst>
            </c:dLbl>
            <c:dLbl>
              <c:idx val="2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90E-499B-AD99-692E50913BB8}"/>
                </c:ext>
              </c:extLst>
            </c:dLbl>
            <c:dLbl>
              <c:idx val="3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90E-499B-AD99-692E50913BB8}"/>
                </c:ext>
              </c:extLst>
            </c:dLbl>
            <c:dLbl>
              <c:idx val="4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90E-499B-AD99-692E50913BB8}"/>
                </c:ext>
              </c:extLst>
            </c:dLbl>
            <c:dLbl>
              <c:idx val="5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90E-499B-AD99-692E50913BB8}"/>
                </c:ext>
              </c:extLst>
            </c:dLbl>
            <c:dLbl>
              <c:idx val="6"/>
              <c:layout>
                <c:manualLayout>
                  <c:x val="0"/>
                  <c:y val="0.134078212290502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90E-499B-AD99-692E50913BB8}"/>
                </c:ext>
              </c:extLst>
            </c:dLbl>
            <c:dLbl>
              <c:idx val="7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90E-499B-AD99-692E50913BB8}"/>
                </c:ext>
              </c:extLst>
            </c:dLbl>
            <c:dLbl>
              <c:idx val="8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090E-499B-AD99-692E50913BB8}"/>
                </c:ext>
              </c:extLst>
            </c:dLbl>
            <c:dLbl>
              <c:idx val="9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090E-499B-AD99-692E50913BB8}"/>
                </c:ext>
              </c:extLst>
            </c:dLbl>
            <c:dLbl>
              <c:idx val="10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090E-499B-AD99-692E50913BB8}"/>
                </c:ext>
              </c:extLst>
            </c:dLbl>
            <c:dLbl>
              <c:idx val="11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090E-499B-AD99-692E50913BB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74.588999999999999</c:v>
                </c:pt>
                <c:pt idx="1">
                  <c:v>196.94251</c:v>
                </c:pt>
                <c:pt idx="2">
                  <c:v>201.2681</c:v>
                </c:pt>
                <c:pt idx="3">
                  <c:v>342.16902000000005</c:v>
                </c:pt>
                <c:pt idx="4">
                  <c:v>66.681989999999999</c:v>
                </c:pt>
                <c:pt idx="5">
                  <c:v>158.49982</c:v>
                </c:pt>
                <c:pt idx="6">
                  <c:v>8.5076800000000006</c:v>
                </c:pt>
                <c:pt idx="7">
                  <c:v>100.49919</c:v>
                </c:pt>
                <c:pt idx="8">
                  <c:v>168.28008</c:v>
                </c:pt>
                <c:pt idx="9">
                  <c:v>72.819090000000003</c:v>
                </c:pt>
                <c:pt idx="10">
                  <c:v>67.118499999999997</c:v>
                </c:pt>
                <c:pt idx="11">
                  <c:v>15.43390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090E-499B-AD99-692E50913BB8}"/>
            </c:ext>
          </c:extLst>
        </c:ser>
        <c:ser>
          <c:idx val="1"/>
          <c:order val="1"/>
          <c:spPr>
            <a:ln w="19050" cmpd="sng" algn="ctr">
              <a:solidFill>
                <a:schemeClr val="hlink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triangle"/>
              <c:size val="5"/>
              <c:spPr>
                <a:solidFill>
                  <a:schemeClr val="hlink"/>
                </a:solidFill>
                <a:ln w="9525" cmpd="sng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090E-499B-AD99-692E50913BB8}"/>
              </c:ext>
            </c:extLst>
          </c:dPt>
          <c:dPt>
            <c:idx val="1"/>
            <c:marker>
              <c:symbol val="triangle"/>
              <c:size val="5"/>
              <c:spPr>
                <a:solidFill>
                  <a:schemeClr val="hlink"/>
                </a:solidFill>
                <a:ln w="9525" cmpd="sng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090E-499B-AD99-692E50913BB8}"/>
              </c:ext>
            </c:extLst>
          </c:dPt>
          <c:dPt>
            <c:idx val="2"/>
            <c:marker>
              <c:symbol val="triangle"/>
              <c:size val="5"/>
              <c:spPr>
                <a:solidFill>
                  <a:schemeClr val="hlink"/>
                </a:solidFill>
                <a:ln w="9525" cmpd="sng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090E-499B-AD99-692E50913BB8}"/>
              </c:ext>
            </c:extLst>
          </c:dPt>
          <c:dPt>
            <c:idx val="3"/>
            <c:marker>
              <c:symbol val="triangle"/>
              <c:size val="5"/>
              <c:spPr>
                <a:solidFill>
                  <a:schemeClr val="hlink"/>
                </a:solidFill>
                <a:ln w="9525" cmpd="sng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090E-499B-AD99-692E50913BB8}"/>
              </c:ext>
            </c:extLst>
          </c:dPt>
          <c:dPt>
            <c:idx val="4"/>
            <c:marker>
              <c:symbol val="triangle"/>
              <c:size val="5"/>
              <c:spPr>
                <a:solidFill>
                  <a:schemeClr val="hlink"/>
                </a:solidFill>
                <a:ln w="9525" cmpd="sng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090E-499B-AD99-692E50913BB8}"/>
              </c:ext>
            </c:extLst>
          </c:dPt>
          <c:dPt>
            <c:idx val="5"/>
            <c:marker>
              <c:symbol val="triangle"/>
              <c:size val="5"/>
              <c:spPr>
                <a:solidFill>
                  <a:schemeClr val="hlink"/>
                </a:solidFill>
                <a:ln w="9525" cmpd="sng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090E-499B-AD99-692E50913BB8}"/>
              </c:ext>
            </c:extLst>
          </c:dPt>
          <c:dPt>
            <c:idx val="6"/>
            <c:marker>
              <c:symbol val="triangle"/>
              <c:size val="5"/>
              <c:spPr>
                <a:solidFill>
                  <a:schemeClr val="hlink"/>
                </a:solidFill>
                <a:ln w="9525" cmpd="sng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090E-499B-AD99-692E50913BB8}"/>
              </c:ext>
            </c:extLst>
          </c:dPt>
          <c:dPt>
            <c:idx val="7"/>
            <c:marker>
              <c:symbol val="triangle"/>
              <c:size val="5"/>
              <c:spPr>
                <a:solidFill>
                  <a:schemeClr val="hlink"/>
                </a:solidFill>
                <a:ln w="9525" cmpd="sng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090E-499B-AD99-692E50913BB8}"/>
              </c:ext>
            </c:extLst>
          </c:dPt>
          <c:dLbls>
            <c:dLbl>
              <c:idx val="0"/>
              <c:layout>
                <c:manualLayout>
                  <c:x val="0"/>
                  <c:y val="0.134078212290502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hlin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090E-499B-AD99-692E50913BB8}"/>
                </c:ext>
              </c:extLst>
            </c:dLbl>
            <c:dLbl>
              <c:idx val="1"/>
              <c:layout>
                <c:manualLayout>
                  <c:x val="0"/>
                  <c:y val="0.134078212290502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hlin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090E-499B-AD99-692E50913BB8}"/>
                </c:ext>
              </c:extLst>
            </c:dLbl>
            <c:dLbl>
              <c:idx val="2"/>
              <c:layout>
                <c:manualLayout>
                  <c:x val="0"/>
                  <c:y val="0.134078212290502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hlin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090E-499B-AD99-692E50913BB8}"/>
                </c:ext>
              </c:extLst>
            </c:dLbl>
            <c:dLbl>
              <c:idx val="3"/>
              <c:layout>
                <c:manualLayout>
                  <c:x val="0"/>
                  <c:y val="0.134078212290502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hlin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090E-499B-AD99-692E50913BB8}"/>
                </c:ext>
              </c:extLst>
            </c:dLbl>
            <c:dLbl>
              <c:idx val="4"/>
              <c:layout>
                <c:manualLayout>
                  <c:x val="0"/>
                  <c:y val="0.134078212290502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hlin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090E-499B-AD99-692E50913BB8}"/>
                </c:ext>
              </c:extLst>
            </c:dLbl>
            <c:dLbl>
              <c:idx val="5"/>
              <c:layout>
                <c:manualLayout>
                  <c:x val="0"/>
                  <c:y val="0.134078212290502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hlin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090E-499B-AD99-692E50913BB8}"/>
                </c:ext>
              </c:extLst>
            </c:dLbl>
            <c:dLbl>
              <c:idx val="6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hlin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090E-499B-AD99-692E50913BB8}"/>
                </c:ext>
              </c:extLst>
            </c:dLbl>
            <c:dLbl>
              <c:idx val="7"/>
              <c:layout>
                <c:manualLayout>
                  <c:x val="0"/>
                  <c:y val="0.134078212290502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hlin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090E-499B-AD99-692E50913BB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4.5725200000000008</c:v>
                </c:pt>
                <c:pt idx="1">
                  <c:v>13.08864</c:v>
                </c:pt>
                <c:pt idx="2">
                  <c:v>20.791630000000001</c:v>
                </c:pt>
                <c:pt idx="3">
                  <c:v>8.4558900000000001</c:v>
                </c:pt>
                <c:pt idx="4">
                  <c:v>6.19496</c:v>
                </c:pt>
                <c:pt idx="5">
                  <c:v>34.110990000000001</c:v>
                </c:pt>
                <c:pt idx="6">
                  <c:v>40.425050000000006</c:v>
                </c:pt>
                <c:pt idx="7">
                  <c:v>5.36064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5-090E-499B-AD99-692E50913B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22641519"/>
        <c:axId val="1"/>
      </c:lineChart>
      <c:catAx>
        <c:axId val="9226415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8080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42.1690200000000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22641519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400"/>
            </a:pPr>
            <a:r>
              <a:rPr lang="pt-BR" sz="1400"/>
              <a:t>Queixas por</a:t>
            </a:r>
            <a:r>
              <a:rPr lang="pt-BR" sz="1400" baseline="0"/>
              <a:t> mil passagens</a:t>
            </a:r>
            <a:endParaRPr lang="pt-BR" sz="1400"/>
          </a:p>
        </c:rich>
      </c:tx>
      <c:layout>
        <c:manualLayout>
          <c:xMode val="edge"/>
          <c:yMode val="edge"/>
          <c:x val="0.38742085907733942"/>
          <c:y val="0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7.6222254202051615E-2"/>
          <c:y val="0.22546201887962042"/>
          <c:w val="0.84711939445872664"/>
          <c:h val="0.52442011151708756"/>
        </c:manualLayout>
      </c:layout>
      <c:lineChart>
        <c:grouping val="standard"/>
        <c:varyColors val="0"/>
        <c:ser>
          <c:idx val="0"/>
          <c:order val="0"/>
          <c:tx>
            <c:strRef>
              <c:f>'Q&amp;S Banco de Dados'!$A$17</c:f>
              <c:strCache>
                <c:ptCount val="1"/>
                <c:pt idx="0">
                  <c:v>% Queixas </c:v>
                </c:pt>
              </c:strCache>
            </c:strRef>
          </c:tx>
          <c:spPr>
            <a:ln w="25400">
              <a:solidFill>
                <a:sysClr val="windowText" lastClr="000000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sz="1400" b="1">
                    <a:solidFill>
                      <a:schemeClr val="tx1"/>
                    </a:solidFill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Q&amp;S Banco de Dados'!$FB$14:$FM$14</c:f>
              <c:numCache>
                <c:formatCode>mmm\-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'Q&amp;S Banco de Dados'!$FB$17:$FM$17</c:f>
              <c:numCache>
                <c:formatCode>0.00</c:formatCode>
                <c:ptCount val="12"/>
                <c:pt idx="0">
                  <c:v>1.9232944903269602</c:v>
                </c:pt>
                <c:pt idx="1">
                  <c:v>1.8202656239466055</c:v>
                </c:pt>
                <c:pt idx="2">
                  <c:v>1.6761649346295675</c:v>
                </c:pt>
                <c:pt idx="3">
                  <c:v>1.9796822089085702</c:v>
                </c:pt>
                <c:pt idx="4">
                  <c:v>1.7294056609211967</c:v>
                </c:pt>
                <c:pt idx="5">
                  <c:v>1.9973368841544608</c:v>
                </c:pt>
                <c:pt idx="6">
                  <c:v>2.4759284731774418</c:v>
                </c:pt>
                <c:pt idx="7">
                  <c:v>1.8038912511274319</c:v>
                </c:pt>
                <c:pt idx="8" formatCode="0.00%">
                  <c:v>0</c:v>
                </c:pt>
                <c:pt idx="9" formatCode="0.00%">
                  <c:v>0</c:v>
                </c:pt>
                <c:pt idx="10" formatCode="0.00%">
                  <c:v>0</c:v>
                </c:pt>
                <c:pt idx="11" formatCode="0.00%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E25-4E8F-B941-9D026D20D482}"/>
            </c:ext>
          </c:extLst>
        </c:ser>
        <c:ser>
          <c:idx val="2"/>
          <c:order val="1"/>
          <c:tx>
            <c:strRef>
              <c:f>'Q&amp;S Banco de Dados'!$A$16</c:f>
              <c:strCache>
                <c:ptCount val="1"/>
                <c:pt idx="0">
                  <c:v>Meta Queixas/1000</c:v>
                </c:pt>
              </c:strCache>
            </c:strRef>
          </c:tx>
          <c:spPr>
            <a:ln w="38100">
              <a:solidFill>
                <a:srgbClr val="FF0000"/>
              </a:solidFill>
              <a:prstDash val="sysDash"/>
            </a:ln>
          </c:spPr>
          <c:marker>
            <c:symbol val="none"/>
          </c:marker>
          <c:dLbls>
            <c:dLbl>
              <c:idx val="11"/>
              <c:layout>
                <c:manualLayout>
                  <c:x val="-1.0498687664041988E-2"/>
                  <c:y val="-3.8216573287384287E-2"/>
                </c:manualLayout>
              </c:layout>
              <c:spPr>
                <a:solidFill>
                  <a:srgbClr val="FF0000"/>
                </a:solidFill>
              </c:spPr>
              <c:txPr>
                <a:bodyPr/>
                <a:lstStyle/>
                <a:p>
                  <a:pPr>
                    <a:defRPr sz="1100">
                      <a:solidFill>
                        <a:schemeClr val="bg1"/>
                      </a:solidFill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E25-4E8F-B941-9D026D20D482}"/>
                </c:ext>
              </c:extLst>
            </c:dLbl>
            <c:dLbl>
              <c:idx val="12"/>
              <c:layout>
                <c:manualLayout>
                  <c:x val="-2.9997431423433212E-3"/>
                  <c:y val="8.492571841640974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E25-4E8F-B941-9D026D20D48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Q&amp;S Banco de Dados'!$FB$14:$FM$14</c:f>
              <c:numCache>
                <c:formatCode>mmm\-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'Q&amp;S Banco de Dados'!$FB$16:$FM$16</c:f>
              <c:numCache>
                <c:formatCode>0.00</c:formatCode>
                <c:ptCount val="12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E25-4E8F-B941-9D026D20D4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8330240"/>
        <c:axId val="368331776"/>
      </c:lineChart>
      <c:dateAx>
        <c:axId val="368330240"/>
        <c:scaling>
          <c:orientation val="minMax"/>
        </c:scaling>
        <c:delete val="0"/>
        <c:axPos val="b"/>
        <c:numFmt formatCode="mmm/yy" sourceLinked="0"/>
        <c:majorTickMark val="none"/>
        <c:minorTickMark val="none"/>
        <c:tickLblPos val="nextTo"/>
        <c:txPr>
          <a:bodyPr/>
          <a:lstStyle/>
          <a:p>
            <a:pPr>
              <a:defRPr sz="1100"/>
            </a:pPr>
            <a:endParaRPr lang="pt-BR"/>
          </a:p>
        </c:txPr>
        <c:crossAx val="368331776"/>
        <c:crossesAt val="0"/>
        <c:auto val="1"/>
        <c:lblOffset val="100"/>
        <c:baseTimeUnit val="months"/>
      </c:dateAx>
      <c:valAx>
        <c:axId val="368331776"/>
        <c:scaling>
          <c:orientation val="minMax"/>
          <c:max val="5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pt-BR"/>
                  <a:t>Manifestação</a:t>
                </a:r>
              </a:p>
            </c:rich>
          </c:tx>
          <c:layout>
            <c:manualLayout>
              <c:xMode val="edge"/>
              <c:yMode val="edge"/>
              <c:x val="5.2272190654453383E-3"/>
              <c:y val="0.3833974093319949"/>
            </c:manualLayout>
          </c:layout>
          <c:overlay val="0"/>
        </c:title>
        <c:numFmt formatCode="#,##0.0" sourceLinked="0"/>
        <c:majorTickMark val="out"/>
        <c:minorTickMark val="none"/>
        <c:tickLblPos val="nextTo"/>
        <c:crossAx val="368330240"/>
        <c:crosses val="autoZero"/>
        <c:crossBetween val="between"/>
        <c:majorUnit val="1"/>
        <c:minorUnit val="2.0000000000000031E-4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.17595749549733461"/>
          <c:y val="0.91519516235313048"/>
          <c:w val="0.53798026359116735"/>
          <c:h val="7.0612777777777774E-2"/>
        </c:manualLayout>
      </c:layout>
      <c:overlay val="0"/>
      <c:txPr>
        <a:bodyPr/>
        <a:lstStyle/>
        <a:p>
          <a:pPr>
            <a:defRPr sz="1000"/>
          </a:pPr>
          <a:endParaRPr lang="pt-BR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800" b="1"/>
      </a:pPr>
      <a:endParaRPr lang="pt-BR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 sz="1800"/>
              <a:t>Comparativo SLA</a:t>
            </a:r>
          </a:p>
          <a:p>
            <a:pPr>
              <a:defRPr sz="1800"/>
            </a:pPr>
            <a:endParaRPr lang="pt-BR" sz="18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0.1010020384665334"/>
          <c:y val="0.21647980338294942"/>
          <c:w val="0.87683420270662116"/>
          <c:h val="0.519521596659343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Agosto!$B$133</c:f>
              <c:strCache>
                <c:ptCount val="1"/>
                <c:pt idx="0">
                  <c:v>Julho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gosto!$A$134:$A$136</c:f>
              <c:strCache>
                <c:ptCount val="3"/>
                <c:pt idx="0">
                  <c:v>Manhã</c:v>
                </c:pt>
                <c:pt idx="1">
                  <c:v>Tarde</c:v>
                </c:pt>
                <c:pt idx="2">
                  <c:v>Noite</c:v>
                </c:pt>
              </c:strCache>
            </c:strRef>
          </c:cat>
          <c:val>
            <c:numRef>
              <c:f>Agosto!$B$134:$B$136</c:f>
              <c:numCache>
                <c:formatCode>h:mm:ss</c:formatCode>
                <c:ptCount val="3"/>
                <c:pt idx="0">
                  <c:v>5.74712643678161E-3</c:v>
                </c:pt>
                <c:pt idx="1">
                  <c:v>1.5222953216374274E-2</c:v>
                </c:pt>
                <c:pt idx="2">
                  <c:v>1.398148148148148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EBA-432F-B8D7-C008CFAD5771}"/>
            </c:ext>
          </c:extLst>
        </c:ser>
        <c:ser>
          <c:idx val="1"/>
          <c:order val="1"/>
          <c:tx>
            <c:strRef>
              <c:f>Agosto!$C$133</c:f>
              <c:strCache>
                <c:ptCount val="1"/>
                <c:pt idx="0">
                  <c:v> Agost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gosto!$A$134:$A$136</c:f>
              <c:strCache>
                <c:ptCount val="3"/>
                <c:pt idx="0">
                  <c:v>Manhã</c:v>
                </c:pt>
                <c:pt idx="1">
                  <c:v>Tarde</c:v>
                </c:pt>
                <c:pt idx="2">
                  <c:v>Noite</c:v>
                </c:pt>
              </c:strCache>
            </c:strRef>
          </c:cat>
          <c:val>
            <c:numRef>
              <c:f>Agosto!$C$134:$C$136</c:f>
              <c:numCache>
                <c:formatCode>h:mm:ss</c:formatCode>
                <c:ptCount val="3"/>
                <c:pt idx="0">
                  <c:v>9.457671957671953E-3</c:v>
                </c:pt>
                <c:pt idx="1">
                  <c:v>8.7239583333333336E-3</c:v>
                </c:pt>
                <c:pt idx="2">
                  <c:v>2.486772486772489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EBA-432F-B8D7-C008CFAD577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271020687"/>
        <c:axId val="1359265791"/>
      </c:barChart>
      <c:catAx>
        <c:axId val="12710206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359265791"/>
        <c:crosses val="autoZero"/>
        <c:auto val="1"/>
        <c:lblAlgn val="ctr"/>
        <c:lblOffset val="100"/>
        <c:noMultiLvlLbl val="0"/>
      </c:catAx>
      <c:valAx>
        <c:axId val="1359265791"/>
        <c:scaling>
          <c:orientation val="minMax"/>
          <c:max val="5.000000000000001E-2"/>
          <c:min val="0"/>
        </c:scaling>
        <c:delete val="0"/>
        <c:axPos val="l"/>
        <c:numFmt formatCode="h:mm:ss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271020687"/>
        <c:crosses val="autoZero"/>
        <c:crossBetween val="between"/>
        <c:majorUnit val="3.0000000000000006E-2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1.0369804653021165E-2"/>
          <c:y val="0.24738073684864786"/>
          <c:w val="0.12055801323086118"/>
          <c:h val="0.285539181218321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03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8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1600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53.emf"/><Relationship Id="rId1" Type="http://schemas.openxmlformats.org/officeDocument/2006/relationships/image" Target="../media/image5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55.emf"/><Relationship Id="rId1" Type="http://schemas.openxmlformats.org/officeDocument/2006/relationships/image" Target="../media/image5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id="{7A3E8254-B588-4023-BA55-6E053DBA7AD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951DE682-E271-4C6F-BDAC-B7650E88AE8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08413" y="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D7DF86-2309-4EF1-BD10-BA388807B5BC}" type="datetimeFigureOut">
              <a:rPr lang="pt-BR" smtClean="0"/>
              <a:t>01/10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EAD37F04-08FF-4B5E-8B35-02132058EAE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28370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8C1D6CA1-6D0D-4AFD-BDCD-4FB29C1F0B5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08413" y="928370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5930EE-E570-4E86-867C-42C60178D00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553960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015" cy="488712"/>
          </a:xfrm>
          <a:prstGeom prst="rect">
            <a:avLst/>
          </a:prstGeom>
        </p:spPr>
        <p:txBody>
          <a:bodyPr vert="horz" lIns="89876" tIns="44938" rIns="89876" bIns="44938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09079" y="0"/>
            <a:ext cx="2914015" cy="488712"/>
          </a:xfrm>
          <a:prstGeom prst="rect">
            <a:avLst/>
          </a:prstGeom>
        </p:spPr>
        <p:txBody>
          <a:bodyPr vert="horz" lIns="89876" tIns="44938" rIns="89876" bIns="44938" rtlCol="0"/>
          <a:lstStyle>
            <a:lvl1pPr algn="r">
              <a:defRPr sz="1200"/>
            </a:lvl1pPr>
          </a:lstStyle>
          <a:p>
            <a:fld id="{7725B727-360B-4BCA-8BD1-E7C557762974}" type="datetimeFigureOut">
              <a:rPr lang="pt-BR" smtClean="0"/>
              <a:t>01/10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33425"/>
            <a:ext cx="6515100" cy="36655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876" tIns="44938" rIns="89876" bIns="44938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2465" y="4642763"/>
            <a:ext cx="5379720" cy="4398407"/>
          </a:xfrm>
          <a:prstGeom prst="rect">
            <a:avLst/>
          </a:prstGeom>
        </p:spPr>
        <p:txBody>
          <a:bodyPr vert="horz" lIns="89876" tIns="44938" rIns="89876" bIns="44938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283829"/>
            <a:ext cx="2914015" cy="488712"/>
          </a:xfrm>
          <a:prstGeom prst="rect">
            <a:avLst/>
          </a:prstGeom>
        </p:spPr>
        <p:txBody>
          <a:bodyPr vert="horz" lIns="89876" tIns="44938" rIns="89876" bIns="44938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09079" y="9283829"/>
            <a:ext cx="2914015" cy="488712"/>
          </a:xfrm>
          <a:prstGeom prst="rect">
            <a:avLst/>
          </a:prstGeom>
        </p:spPr>
        <p:txBody>
          <a:bodyPr vert="horz" lIns="89876" tIns="44938" rIns="89876" bIns="44938" rtlCol="0" anchor="b"/>
          <a:lstStyle>
            <a:lvl1pPr algn="r">
              <a:defRPr sz="1200"/>
            </a:lvl1pPr>
          </a:lstStyle>
          <a:p>
            <a:fld id="{F867AE74-E609-4181-8E92-60EAD3C16C8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25147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607060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8C3008-DD69-5073-8E8A-D7B9FD058C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E25A78E-AF42-E3A8-1ACB-AD6B02C94C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2FD279-189C-4A2E-45D7-6B4D5389C6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97DEA6-C955-ADE0-C1D9-F107C67F37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pPr/>
              <a:t>5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626116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pPr/>
              <a:t>5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33218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pPr/>
              <a:t>5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427981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pPr/>
              <a:t>5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415529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pPr/>
              <a:t>5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415529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437426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009645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788139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Verificar Marcapassos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119945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t>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686587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t>2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026604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pPr/>
              <a:t>5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3321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pPr/>
              <a:t>5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3321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914400" y="2130426"/>
            <a:ext cx="103632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pt-BR" dirty="0"/>
              <a:t>Clique para inserir o título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/>
              <a:t>Clique para inserir o subtítulo</a:t>
            </a:r>
          </a:p>
        </p:txBody>
      </p:sp>
    </p:spTree>
    <p:extLst>
      <p:ext uri="{BB962C8B-B14F-4D97-AF65-F5344CB8AC3E}">
        <p14:creationId xmlns:p14="http://schemas.microsoft.com/office/powerpoint/2010/main" val="15657933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Data 1">
            <a:extLst>
              <a:ext uri="{FF2B5EF4-FFF2-40B4-BE49-F238E27FC236}">
                <a16:creationId xmlns:a16="http://schemas.microsoft.com/office/drawing/2014/main" id="{232501CF-1319-D545-941D-2F87DD3930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C08EAE-9D04-FC4F-8F81-8141945ECF98}" type="datetimeFigureOut">
              <a:rPr lang="pt-BR"/>
              <a:pPr>
                <a:defRPr/>
              </a:pPr>
              <a:t>01/10/2025</a:t>
            </a:fld>
            <a:endParaRPr lang="pt-BR" dirty="0"/>
          </a:p>
        </p:txBody>
      </p:sp>
      <p:sp>
        <p:nvSpPr>
          <p:cNvPr id="4" name="Espaço Reservado para Rodapé 2">
            <a:extLst>
              <a:ext uri="{FF2B5EF4-FFF2-40B4-BE49-F238E27FC236}">
                <a16:creationId xmlns:a16="http://schemas.microsoft.com/office/drawing/2014/main" id="{69841197-C708-1246-8A25-46BBB4E2AC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3">
            <a:extLst>
              <a:ext uri="{FF2B5EF4-FFF2-40B4-BE49-F238E27FC236}">
                <a16:creationId xmlns:a16="http://schemas.microsoft.com/office/drawing/2014/main" id="{6B4D4B7B-20C9-D141-8CB2-B264773C6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410C4ED-6647-A742-B8E7-9ABE29A7E515}" type="slidenum">
              <a:rPr lang="pt-BR" altLang="pt-BR"/>
              <a:pPr/>
              <a:t>‹nº›</a:t>
            </a:fld>
            <a:endParaRPr lang="pt-BR" altLang="pt-BR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55798DC3-6167-4F90-B6F4-3D12CE15FB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101200" y="130699"/>
            <a:ext cx="1002952" cy="852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114459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578" b="1" i="0">
                <a:solidFill>
                  <a:srgbClr val="244060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08300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dirty="0"/>
              <a:t>Clique para inserir o título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inserir o texto</a:t>
            </a:r>
          </a:p>
        </p:txBody>
      </p:sp>
    </p:spTree>
    <p:extLst>
      <p:ext uri="{BB962C8B-B14F-4D97-AF65-F5344CB8AC3E}">
        <p14:creationId xmlns:p14="http://schemas.microsoft.com/office/powerpoint/2010/main" val="455948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</p:sldLayoutIdLst>
  <p:txStyles>
    <p:titleStyle>
      <a:lvl1pPr algn="l" defTabSz="914400" rtl="0" eaLnBrk="1" latinLnBrk="0" hangingPunct="1">
        <a:spcBef>
          <a:spcPct val="0"/>
        </a:spcBef>
        <a:buNone/>
        <a:defRPr sz="4400" b="1" kern="1200">
          <a:solidFill>
            <a:srgbClr val="46B3B3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microsoft.com/office/2007/relationships/hdphoto" Target="../media/hdphoto2.wdp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microsoft.com/office/2007/relationships/hdphoto" Target="../media/hdphoto2.wdp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microsoft.com/office/2007/relationships/hdphoto" Target="../media/hdphoto2.wdp"/></Relationships>
</file>

<file path=ppt/slides/_rels/slide2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6.png"/></Relationships>
</file>

<file path=ppt/slides/_rels/slide2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9.png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2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tags" Target="../tags/tag38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42" Type="http://schemas.openxmlformats.org/officeDocument/2006/relationships/slideLayout" Target="../slideLayouts/slideLayout1.xml"/><Relationship Id="rId47" Type="http://schemas.microsoft.com/office/2007/relationships/hdphoto" Target="../media/hdphoto2.wdp"/><Relationship Id="rId50" Type="http://schemas.openxmlformats.org/officeDocument/2006/relationships/oleObject" Target="file:///\\arqsv0\FIN\ContPlanFinanceiro\PlanejamentoFinanceiro\PFInvestimentos\Business%20Control\3.IIRS%20e%20Cuidado%20P&#250;blico\0.%20Relat&#243;rio%20Mensal_Sa&#250;de%20P&#250;blica\3.%20HMMD_Mboi\08.%2025\08.%2025%20-%20Relat&#243;rio%20Financeiro%20(HMMD).xlsx!Tabelas!L2C3:L26C23" TargetMode="Externa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9" Type="http://schemas.openxmlformats.org/officeDocument/2006/relationships/tags" Target="../tags/tag28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45" Type="http://schemas.openxmlformats.org/officeDocument/2006/relationships/image" Target="../media/image52.emf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49" Type="http://schemas.openxmlformats.org/officeDocument/2006/relationships/chart" Target="../charts/chart2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4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notesSlide" Target="../notesSlides/notesSlide7.xml"/><Relationship Id="rId48" Type="http://schemas.openxmlformats.org/officeDocument/2006/relationships/chart" Target="../charts/chart1.xml"/><Relationship Id="rId8" Type="http://schemas.openxmlformats.org/officeDocument/2006/relationships/tags" Target="../tags/tag7.xml"/><Relationship Id="rId51" Type="http://schemas.openxmlformats.org/officeDocument/2006/relationships/image" Target="../media/image53.emf"/><Relationship Id="rId3" Type="http://schemas.openxmlformats.org/officeDocument/2006/relationships/tags" Target="../tags/tag2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46" Type="http://schemas.openxmlformats.org/officeDocument/2006/relationships/image" Target="../media/image5.png"/><Relationship Id="rId20" Type="http://schemas.openxmlformats.org/officeDocument/2006/relationships/tags" Target="../tags/tag19.xml"/><Relationship Id="rId41" Type="http://schemas.openxmlformats.org/officeDocument/2006/relationships/tags" Target="../tags/tag40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4.emf"/><Relationship Id="rId5" Type="http://schemas.openxmlformats.org/officeDocument/2006/relationships/oleObject" Target="file:///\\arqsv0\FIN\ContPlanFinanceiro\PlanejamentoFinanceiro\PFInvestimentos\Business%20Control\3.IIRS%20e%20Cuidado%20P&#250;blico\0.%20Relat&#243;rio%20Mensal_Sa&#250;de%20P&#250;blica\3.%20HMMD_Mboi\08.%2025\08.%2025%20-%20Relat&#243;rio%20Financeiro%20(HMMD).xlsx!P&amp;L%20HMMD!L3C3:L56C65" TargetMode="External"/><Relationship Id="rId4" Type="http://schemas.microsoft.com/office/2007/relationships/hdphoto" Target="../media/hdphoto2.wdp"/></Relationships>
</file>

<file path=ppt/slides/_rels/slide28.xml.rels><?xml version="1.0" encoding="UTF-8" standalone="yes"?>
<Relationships xmlns="http://schemas.openxmlformats.org/package/2006/relationships"><Relationship Id="rId26" Type="http://schemas.openxmlformats.org/officeDocument/2006/relationships/tags" Target="../tags/tag65.xml"/><Relationship Id="rId21" Type="http://schemas.openxmlformats.org/officeDocument/2006/relationships/tags" Target="../tags/tag60.xml"/><Relationship Id="rId42" Type="http://schemas.openxmlformats.org/officeDocument/2006/relationships/tags" Target="../tags/tag81.xml"/><Relationship Id="rId47" Type="http://schemas.openxmlformats.org/officeDocument/2006/relationships/tags" Target="../tags/tag86.xml"/><Relationship Id="rId63" Type="http://schemas.openxmlformats.org/officeDocument/2006/relationships/tags" Target="../tags/tag102.xml"/><Relationship Id="rId68" Type="http://schemas.openxmlformats.org/officeDocument/2006/relationships/oleObject" Target="../embeddings/oleObject2.bin"/><Relationship Id="rId16" Type="http://schemas.openxmlformats.org/officeDocument/2006/relationships/tags" Target="../tags/tag55.xml"/><Relationship Id="rId11" Type="http://schemas.openxmlformats.org/officeDocument/2006/relationships/tags" Target="../tags/tag50.xml"/><Relationship Id="rId24" Type="http://schemas.openxmlformats.org/officeDocument/2006/relationships/tags" Target="../tags/tag63.xml"/><Relationship Id="rId32" Type="http://schemas.openxmlformats.org/officeDocument/2006/relationships/tags" Target="../tags/tag71.xml"/><Relationship Id="rId37" Type="http://schemas.openxmlformats.org/officeDocument/2006/relationships/tags" Target="../tags/tag76.xml"/><Relationship Id="rId40" Type="http://schemas.openxmlformats.org/officeDocument/2006/relationships/tags" Target="../tags/tag79.xml"/><Relationship Id="rId45" Type="http://schemas.openxmlformats.org/officeDocument/2006/relationships/tags" Target="../tags/tag84.xml"/><Relationship Id="rId53" Type="http://schemas.openxmlformats.org/officeDocument/2006/relationships/tags" Target="../tags/tag92.xml"/><Relationship Id="rId58" Type="http://schemas.openxmlformats.org/officeDocument/2006/relationships/tags" Target="../tags/tag97.xml"/><Relationship Id="rId66" Type="http://schemas.openxmlformats.org/officeDocument/2006/relationships/tags" Target="../tags/tag105.xml"/><Relationship Id="rId74" Type="http://schemas.openxmlformats.org/officeDocument/2006/relationships/chart" Target="../charts/chart5.xml"/><Relationship Id="rId5" Type="http://schemas.openxmlformats.org/officeDocument/2006/relationships/tags" Target="../tags/tag44.xml"/><Relationship Id="rId61" Type="http://schemas.openxmlformats.org/officeDocument/2006/relationships/tags" Target="../tags/tag100.xml"/><Relationship Id="rId19" Type="http://schemas.openxmlformats.org/officeDocument/2006/relationships/tags" Target="../tags/tag58.xml"/><Relationship Id="rId14" Type="http://schemas.openxmlformats.org/officeDocument/2006/relationships/tags" Target="../tags/tag53.xml"/><Relationship Id="rId22" Type="http://schemas.openxmlformats.org/officeDocument/2006/relationships/tags" Target="../tags/tag61.xml"/><Relationship Id="rId27" Type="http://schemas.openxmlformats.org/officeDocument/2006/relationships/tags" Target="../tags/tag66.xml"/><Relationship Id="rId30" Type="http://schemas.openxmlformats.org/officeDocument/2006/relationships/tags" Target="../tags/tag69.xml"/><Relationship Id="rId35" Type="http://schemas.openxmlformats.org/officeDocument/2006/relationships/tags" Target="../tags/tag74.xml"/><Relationship Id="rId43" Type="http://schemas.openxmlformats.org/officeDocument/2006/relationships/tags" Target="../tags/tag82.xml"/><Relationship Id="rId48" Type="http://schemas.openxmlformats.org/officeDocument/2006/relationships/tags" Target="../tags/tag87.xml"/><Relationship Id="rId56" Type="http://schemas.openxmlformats.org/officeDocument/2006/relationships/tags" Target="../tags/tag95.xml"/><Relationship Id="rId64" Type="http://schemas.openxmlformats.org/officeDocument/2006/relationships/tags" Target="../tags/tag103.xml"/><Relationship Id="rId69" Type="http://schemas.openxmlformats.org/officeDocument/2006/relationships/image" Target="../media/image52.emf"/><Relationship Id="rId77" Type="http://schemas.openxmlformats.org/officeDocument/2006/relationships/oleObject" Target="file:///\\arqsv0\FIN\ContPlanFinanceiro\PlanejamentoFinanceiro\PFInvestimentos\Business%20Control\3.IIRS%20e%20Cuidado%20P&#250;blico\0.%20Relat&#243;rio%20Mensal_Sa&#250;de%20P&#250;blica\3.%20HMMD_Mboi\08.%2025\08.%2025%20-%20Relat&#243;rio%20Financeiro%20(HMMD).xlsx!Tabelas!L29C3:L40C23" TargetMode="External"/><Relationship Id="rId8" Type="http://schemas.openxmlformats.org/officeDocument/2006/relationships/tags" Target="../tags/tag47.xml"/><Relationship Id="rId51" Type="http://schemas.openxmlformats.org/officeDocument/2006/relationships/tags" Target="../tags/tag90.xml"/><Relationship Id="rId72" Type="http://schemas.openxmlformats.org/officeDocument/2006/relationships/chart" Target="../charts/chart3.xml"/><Relationship Id="rId3" Type="http://schemas.openxmlformats.org/officeDocument/2006/relationships/tags" Target="../tags/tag42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tags" Target="../tags/tag64.xml"/><Relationship Id="rId33" Type="http://schemas.openxmlformats.org/officeDocument/2006/relationships/tags" Target="../tags/tag72.xml"/><Relationship Id="rId38" Type="http://schemas.openxmlformats.org/officeDocument/2006/relationships/tags" Target="../tags/tag77.xml"/><Relationship Id="rId46" Type="http://schemas.openxmlformats.org/officeDocument/2006/relationships/tags" Target="../tags/tag85.xml"/><Relationship Id="rId59" Type="http://schemas.openxmlformats.org/officeDocument/2006/relationships/tags" Target="../tags/tag98.xml"/><Relationship Id="rId67" Type="http://schemas.openxmlformats.org/officeDocument/2006/relationships/slideLayout" Target="../slideLayouts/slideLayout1.xml"/><Relationship Id="rId20" Type="http://schemas.openxmlformats.org/officeDocument/2006/relationships/tags" Target="../tags/tag59.xml"/><Relationship Id="rId41" Type="http://schemas.openxmlformats.org/officeDocument/2006/relationships/tags" Target="../tags/tag80.xml"/><Relationship Id="rId54" Type="http://schemas.openxmlformats.org/officeDocument/2006/relationships/tags" Target="../tags/tag93.xml"/><Relationship Id="rId62" Type="http://schemas.openxmlformats.org/officeDocument/2006/relationships/tags" Target="../tags/tag101.xml"/><Relationship Id="rId70" Type="http://schemas.openxmlformats.org/officeDocument/2006/relationships/image" Target="../media/image5.png"/><Relationship Id="rId75" Type="http://schemas.openxmlformats.org/officeDocument/2006/relationships/chart" Target="../charts/chart6.xml"/><Relationship Id="rId1" Type="http://schemas.openxmlformats.org/officeDocument/2006/relationships/vmlDrawing" Target="../drawings/vmlDrawing3.vml"/><Relationship Id="rId6" Type="http://schemas.openxmlformats.org/officeDocument/2006/relationships/tags" Target="../tags/tag45.xml"/><Relationship Id="rId15" Type="http://schemas.openxmlformats.org/officeDocument/2006/relationships/tags" Target="../tags/tag54.xml"/><Relationship Id="rId23" Type="http://schemas.openxmlformats.org/officeDocument/2006/relationships/tags" Target="../tags/tag62.xml"/><Relationship Id="rId28" Type="http://schemas.openxmlformats.org/officeDocument/2006/relationships/tags" Target="../tags/tag67.xml"/><Relationship Id="rId36" Type="http://schemas.openxmlformats.org/officeDocument/2006/relationships/tags" Target="../tags/tag75.xml"/><Relationship Id="rId49" Type="http://schemas.openxmlformats.org/officeDocument/2006/relationships/tags" Target="../tags/tag88.xml"/><Relationship Id="rId57" Type="http://schemas.openxmlformats.org/officeDocument/2006/relationships/tags" Target="../tags/tag96.xml"/><Relationship Id="rId10" Type="http://schemas.openxmlformats.org/officeDocument/2006/relationships/tags" Target="../tags/tag49.xml"/><Relationship Id="rId31" Type="http://schemas.openxmlformats.org/officeDocument/2006/relationships/tags" Target="../tags/tag70.xml"/><Relationship Id="rId44" Type="http://schemas.openxmlformats.org/officeDocument/2006/relationships/tags" Target="../tags/tag83.xml"/><Relationship Id="rId52" Type="http://schemas.openxmlformats.org/officeDocument/2006/relationships/tags" Target="../tags/tag91.xml"/><Relationship Id="rId60" Type="http://schemas.openxmlformats.org/officeDocument/2006/relationships/tags" Target="../tags/tag99.xml"/><Relationship Id="rId65" Type="http://schemas.openxmlformats.org/officeDocument/2006/relationships/tags" Target="../tags/tag104.xml"/><Relationship Id="rId73" Type="http://schemas.openxmlformats.org/officeDocument/2006/relationships/chart" Target="../charts/chart4.xml"/><Relationship Id="rId78" Type="http://schemas.openxmlformats.org/officeDocument/2006/relationships/image" Target="../media/image55.emf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39" Type="http://schemas.openxmlformats.org/officeDocument/2006/relationships/tags" Target="../tags/tag78.xml"/><Relationship Id="rId34" Type="http://schemas.openxmlformats.org/officeDocument/2006/relationships/tags" Target="../tags/tag73.xml"/><Relationship Id="rId50" Type="http://schemas.openxmlformats.org/officeDocument/2006/relationships/tags" Target="../tags/tag89.xml"/><Relationship Id="rId55" Type="http://schemas.openxmlformats.org/officeDocument/2006/relationships/tags" Target="../tags/tag94.xml"/><Relationship Id="rId76" Type="http://schemas.openxmlformats.org/officeDocument/2006/relationships/chart" Target="../charts/chart7.xml"/><Relationship Id="rId7" Type="http://schemas.openxmlformats.org/officeDocument/2006/relationships/tags" Target="../tags/tag46.xml"/><Relationship Id="rId71" Type="http://schemas.microsoft.com/office/2007/relationships/hdphoto" Target="../media/hdphoto2.wdp"/><Relationship Id="rId2" Type="http://schemas.openxmlformats.org/officeDocument/2006/relationships/tags" Target="../tags/tag41.xml"/><Relationship Id="rId29" Type="http://schemas.openxmlformats.org/officeDocument/2006/relationships/tags" Target="../tags/tag68.xml"/></Relationships>
</file>

<file path=ppt/slides/_rels/slide2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8.xml"/><Relationship Id="rId4" Type="http://schemas.openxmlformats.org/officeDocument/2006/relationships/image" Target="../media/image56.png"/></Relationships>
</file>

<file path=ppt/slides/_rels/slide3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10.xml"/><Relationship Id="rId4" Type="http://schemas.openxmlformats.org/officeDocument/2006/relationships/chart" Target="../charts/chart9.xml"/></Relationships>
</file>

<file path=ppt/slides/_rels/slide3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13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1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2.png"/></Relationships>
</file>

<file path=ppt/slides/_rels/slide3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3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microsoft.com/office/2007/relationships/hdphoto" Target="../media/hdphoto2.wdp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7" Type="http://schemas.microsoft.com/office/2007/relationships/hdphoto" Target="../media/hdphoto2.wdp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68.jpeg"/><Relationship Id="rId4" Type="http://schemas.openxmlformats.org/officeDocument/2006/relationships/image" Target="../media/image67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Relationship Id="rId5" Type="http://schemas.microsoft.com/office/2007/relationships/hdphoto" Target="../media/hdphoto2.wdp"/><Relationship Id="rId4" Type="http://schemas.openxmlformats.org/officeDocument/2006/relationships/image" Target="../media/image5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5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microsoft.com/office/2007/relationships/hdphoto" Target="../media/hdphoto2.wdp"/><Relationship Id="rId9" Type="http://schemas.openxmlformats.org/officeDocument/2006/relationships/image" Target="../media/image15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0.jpeg"/><Relationship Id="rId4" Type="http://schemas.microsoft.com/office/2007/relationships/hdphoto" Target="../media/hdphoto2.wdp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microsoft.com/office/2007/relationships/hdphoto" Target="../media/hdphoto2.wdp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microsoft.com/office/2007/relationships/hdphoto" Target="../media/hdphoto2.wdp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microsoft.com/office/2007/relationships/hdphoto" Target="../media/hdphoto2.wdp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microsoft.com/office/2007/relationships/hdphoto" Target="../media/hdphoto2.wdp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4" Type="http://schemas.microsoft.com/office/2007/relationships/hdphoto" Target="../media/hdphoto2.wdp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14.xml"/><Relationship Id="rId4" Type="http://schemas.microsoft.com/office/2007/relationships/hdphoto" Target="../media/hdphoto2.wdp"/></Relationships>
</file>

<file path=ppt/slides/_rels/slide5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6" Type="http://schemas.microsoft.com/office/2007/relationships/hdphoto" Target="../media/hdphoto2.wdp"/><Relationship Id="rId11" Type="http://schemas.openxmlformats.org/officeDocument/2006/relationships/image" Target="../media/image20.png"/><Relationship Id="rId5" Type="http://schemas.openxmlformats.org/officeDocument/2006/relationships/image" Target="../media/image5.png"/><Relationship Id="rId10" Type="http://schemas.openxmlformats.org/officeDocument/2006/relationships/image" Target="../media/image19.png"/><Relationship Id="rId4" Type="http://schemas.openxmlformats.org/officeDocument/2006/relationships/image" Target="../media/image1.png"/><Relationship Id="rId9" Type="http://schemas.openxmlformats.org/officeDocument/2006/relationships/image" Target="../media/image18.png"/></Relationships>
</file>

<file path=ppt/slides/_rels/slide6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microsoft.com/office/2007/relationships/hdphoto" Target="../media/hdphoto2.wdp"/><Relationship Id="rId7" Type="http://schemas.openxmlformats.org/officeDocument/2006/relationships/image" Target="../media/image85.png"/><Relationship Id="rId12" Type="http://schemas.openxmlformats.org/officeDocument/2006/relationships/image" Target="../media/image9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4.png"/><Relationship Id="rId11" Type="http://schemas.openxmlformats.org/officeDocument/2006/relationships/image" Target="../media/image89.png"/><Relationship Id="rId5" Type="http://schemas.openxmlformats.org/officeDocument/2006/relationships/image" Target="../media/image83.png"/><Relationship Id="rId10" Type="http://schemas.openxmlformats.org/officeDocument/2006/relationships/image" Target="../media/image88.png"/><Relationship Id="rId4" Type="http://schemas.openxmlformats.org/officeDocument/2006/relationships/image" Target="../media/image82.png"/><Relationship Id="rId9" Type="http://schemas.openxmlformats.org/officeDocument/2006/relationships/image" Target="../media/image87.png"/></Relationships>
</file>

<file path=ppt/slides/_rels/slide6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1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BAD906A-07AC-405B-BC9A-5B53C13EFA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060848"/>
            <a:ext cx="12192000" cy="1656184"/>
          </a:xfrm>
          <a:gradFill flip="none" rotWithShape="1">
            <a:gsLst>
              <a:gs pos="0">
                <a:srgbClr val="CCFFFF">
                  <a:shade val="30000"/>
                  <a:satMod val="115000"/>
                </a:srgbClr>
              </a:gs>
              <a:gs pos="15000">
                <a:srgbClr val="CCFFFF">
                  <a:shade val="67500"/>
                  <a:satMod val="115000"/>
                </a:srgbClr>
              </a:gs>
              <a:gs pos="100000">
                <a:srgbClr val="CCFFFF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>
            <a:normAutofit fontScale="90000"/>
          </a:bodyPr>
          <a:lstStyle/>
          <a:p>
            <a:r>
              <a:rPr lang="pt-BR" sz="4000" dirty="0">
                <a:solidFill>
                  <a:srgbClr val="399593"/>
                </a:solidFill>
              </a:rPr>
              <a:t>Relatório Gerencial</a:t>
            </a:r>
            <a:br>
              <a:rPr lang="pt-BR" sz="4000" dirty="0">
                <a:solidFill>
                  <a:srgbClr val="399593"/>
                </a:solidFill>
              </a:rPr>
            </a:br>
            <a:r>
              <a:rPr lang="pt-BR" sz="4000" dirty="0">
                <a:solidFill>
                  <a:srgbClr val="399593"/>
                </a:solidFill>
              </a:rPr>
              <a:t>Conselho Gestor</a:t>
            </a:r>
            <a:br>
              <a:rPr lang="pt-BR" sz="3600" dirty="0">
                <a:solidFill>
                  <a:srgbClr val="399593"/>
                </a:solidFill>
              </a:rPr>
            </a:br>
            <a:r>
              <a:rPr lang="pt-BR" sz="3600" dirty="0">
                <a:solidFill>
                  <a:srgbClr val="399593"/>
                </a:solidFill>
              </a:rPr>
              <a:t>Agosto </a:t>
            </a:r>
            <a:r>
              <a:rPr lang="pt-BR" sz="2800" dirty="0">
                <a:solidFill>
                  <a:srgbClr val="399593"/>
                </a:solidFill>
              </a:rPr>
              <a:t>de 2025</a:t>
            </a:r>
            <a:endParaRPr lang="pt-BR" sz="4000" dirty="0">
              <a:solidFill>
                <a:srgbClr val="39959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A87A069E-46A5-4239-9474-47904A470AC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4552" y="10141"/>
            <a:ext cx="1127448" cy="808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1716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9376" y="199884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Metas Qualitativas – Portaria N° 866 de 31 de Dezembro de 2024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3830D4AB-B18D-47DD-BA04-F747EE986D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9738" y="1985642"/>
            <a:ext cx="8722726" cy="259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7886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6F3188A9-5ED4-4489-9755-07AEB484657D}"/>
              </a:ext>
            </a:extLst>
          </p:cNvPr>
          <p:cNvSpPr txBox="1"/>
          <p:nvPr/>
        </p:nvSpPr>
        <p:spPr>
          <a:xfrm>
            <a:off x="631776" y="352284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Metas Fixas Qualitativas de Contrato de Gestão - 2008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458630A1-A9EC-46DA-9365-19971BBDB1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3681" y="915965"/>
            <a:ext cx="9060796" cy="2411066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C2F26901-4BAD-49EC-9A89-06DCCB9C362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3681" y="3530970"/>
            <a:ext cx="9060796" cy="2411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5035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4DFA51EC-1A9B-4D04-8912-C2E5E551FF1A}"/>
              </a:ext>
            </a:extLst>
          </p:cNvPr>
          <p:cNvSpPr txBox="1"/>
          <p:nvPr/>
        </p:nvSpPr>
        <p:spPr>
          <a:xfrm>
            <a:off x="631776" y="303646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Metas Quantitativas de Produção Hospitalar – 2008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1F36C314-47E6-4C51-8AC2-48ED2B10AD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1415" y="802120"/>
            <a:ext cx="8968688" cy="2458449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96916DFD-777B-46AF-971D-C5C13C9B6B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97109" y="3416961"/>
            <a:ext cx="8968688" cy="2401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5974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9835575C-AB8B-49D1-BD1E-84D3F339D735}"/>
              </a:ext>
            </a:extLst>
          </p:cNvPr>
          <p:cNvSpPr txBox="1"/>
          <p:nvPr/>
        </p:nvSpPr>
        <p:spPr>
          <a:xfrm>
            <a:off x="631776" y="303646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Metas Quantitativas de Produção Hospitalar – 2008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608A9393-C4C7-42C5-A396-D5F3CB29014E}"/>
              </a:ext>
            </a:extLst>
          </p:cNvPr>
          <p:cNvSpPr txBox="1"/>
          <p:nvPr/>
        </p:nvSpPr>
        <p:spPr>
          <a:xfrm>
            <a:off x="10617537" y="1932806"/>
            <a:ext cx="10984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>
                <a:solidFill>
                  <a:srgbClr val="FF0000"/>
                </a:solidFill>
              </a:rPr>
              <a:t>Meta Suspensa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FAAA71B5-6894-4990-8806-1A80EA1A2B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89577" y="797572"/>
            <a:ext cx="9027553" cy="2426209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98C34E70-C657-434D-95DE-ED7E57FAA7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89577" y="3383947"/>
            <a:ext cx="9027553" cy="243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152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58027B83-A13B-4F84-8D66-A8E2D6046CDF}"/>
              </a:ext>
            </a:extLst>
          </p:cNvPr>
          <p:cNvSpPr txBox="1"/>
          <p:nvPr/>
        </p:nvSpPr>
        <p:spPr>
          <a:xfrm>
            <a:off x="631776" y="303646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Metas Quantitativas de Produção Hospitalar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F8C4CFD2-7D10-45B3-B1D9-20B0530F2B14}"/>
              </a:ext>
            </a:extLst>
          </p:cNvPr>
          <p:cNvSpPr txBox="1"/>
          <p:nvPr/>
        </p:nvSpPr>
        <p:spPr>
          <a:xfrm>
            <a:off x="10617537" y="1932806"/>
            <a:ext cx="10984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>
                <a:solidFill>
                  <a:srgbClr val="FF0000"/>
                </a:solidFill>
              </a:rPr>
              <a:t>Meta Suspensa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7BF016BD-F3E5-4AF8-B39E-381C6201C883}"/>
              </a:ext>
            </a:extLst>
          </p:cNvPr>
          <p:cNvSpPr txBox="1"/>
          <p:nvPr/>
        </p:nvSpPr>
        <p:spPr>
          <a:xfrm>
            <a:off x="10594651" y="4278864"/>
            <a:ext cx="10984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>
                <a:solidFill>
                  <a:srgbClr val="FF0000"/>
                </a:solidFill>
              </a:rPr>
              <a:t>Meta Suspensa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68E20017-B989-41AF-A495-D582DE8D8A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97827" y="797572"/>
            <a:ext cx="9013066" cy="2487413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7B87FE2C-310A-4A13-914C-CDC12A47D35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99810" y="3423187"/>
            <a:ext cx="9017727" cy="2382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8313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119336" y="236264"/>
            <a:ext cx="1137726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Indicadores de Monitoramento – Portaria N° 866 de 31 de Dezembro de 2024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E269F015-83C7-4E9D-BEAF-9449C0EFC5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5402" y="797572"/>
            <a:ext cx="9080924" cy="2469094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AEF437E4-E7B8-43D5-96B7-E60F05760C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5402" y="3427294"/>
            <a:ext cx="9080924" cy="2505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8528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119336" y="236264"/>
            <a:ext cx="1137726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Indicadores de Monitoramento – Portaria N° 866 de 31 de Dezembro de 2024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B2A99338-97E6-41F5-AB81-9F883EF57F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2394" y="779138"/>
            <a:ext cx="9068931" cy="2462997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5130D74F-320F-4787-9F58-78194779E15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42393" y="3425391"/>
            <a:ext cx="9068931" cy="2462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0861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119336" y="236264"/>
            <a:ext cx="1137726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Indicadores de Monitoramento – Portaria N° 866 de 31 de Dezembro de 2024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D40E599E-5E35-4A28-8A9C-EFADA9EFA4E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8139" y="787786"/>
            <a:ext cx="9082245" cy="2481887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C6B2A793-909C-4BBE-91D4-5CE21605DE7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38139" y="3440626"/>
            <a:ext cx="9082245" cy="2462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3506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9376" y="199884"/>
            <a:ext cx="1051715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C4475567-9F8E-4A30-AF9A-CEDF07FA71D6}"/>
              </a:ext>
            </a:extLst>
          </p:cNvPr>
          <p:cNvSpPr txBox="1"/>
          <p:nvPr/>
        </p:nvSpPr>
        <p:spPr>
          <a:xfrm>
            <a:off x="119336" y="236264"/>
            <a:ext cx="1137726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Indicadores de Monitoramento – Portaria N° 866 de 31 de Dezembro de 2024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19E52C37-6853-4F53-96B8-590907E27B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59496" y="1912142"/>
            <a:ext cx="9289032" cy="2520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2099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7AF24490-4F49-4D5B-BAAC-12C02A8739A1}"/>
              </a:ext>
            </a:extLst>
          </p:cNvPr>
          <p:cNvSpPr txBox="1"/>
          <p:nvPr/>
        </p:nvSpPr>
        <p:spPr>
          <a:xfrm>
            <a:off x="631776" y="303646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 Indicadores de Produção Hospitalar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5BAAC78F-E5C9-47C0-97F0-D82953582E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9810" y="797139"/>
            <a:ext cx="9012589" cy="2530059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BF786A0D-A7A6-40DF-88A7-8A65EAE385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99810" y="3428999"/>
            <a:ext cx="9012589" cy="2530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0367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13157B5A-518A-4D69-ABB9-0707645EBDC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157" r="4522"/>
          <a:stretch/>
        </p:blipFill>
        <p:spPr>
          <a:xfrm>
            <a:off x="335360" y="797572"/>
            <a:ext cx="10614202" cy="5498034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DA2FC942-E0D3-4D21-A787-6276399DE6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376" y="908720"/>
            <a:ext cx="1950889" cy="475529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Aspiração</a:t>
            </a:r>
            <a:r>
              <a:rPr lang="pt-BR" sz="3200" b="1" i="0" kern="1200" dirty="0">
                <a:solidFill>
                  <a:srgbClr val="006A6B"/>
                </a:solidFill>
                <a:latin typeface="+mj-lt"/>
              </a:rPr>
              <a:t>, Propósito, Valores e Jeito de Ser M’Boi</a:t>
            </a:r>
          </a:p>
        </p:txBody>
      </p:sp>
    </p:spTree>
    <p:extLst>
      <p:ext uri="{BB962C8B-B14F-4D97-AF65-F5344CB8AC3E}">
        <p14:creationId xmlns:p14="http://schemas.microsoft.com/office/powerpoint/2010/main" val="31539820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A0F237BD-09DE-488F-8922-907ECC1C0ED8}"/>
              </a:ext>
            </a:extLst>
          </p:cNvPr>
          <p:cNvSpPr txBox="1"/>
          <p:nvPr/>
        </p:nvSpPr>
        <p:spPr>
          <a:xfrm>
            <a:off x="631776" y="303646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 Indicadores de Produção Hospitalar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2EE4A3DF-7162-4AAD-9C90-D719DC5134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5945" y="817005"/>
            <a:ext cx="9016123" cy="2443564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C367FD80-E9BC-4A06-A850-2ACEC2CC2B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15050" y="3427703"/>
            <a:ext cx="9016123" cy="245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9051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39E2AB97-C144-4E06-9425-37BF7CF38FF3}"/>
              </a:ext>
            </a:extLst>
          </p:cNvPr>
          <p:cNvSpPr txBox="1"/>
          <p:nvPr/>
        </p:nvSpPr>
        <p:spPr>
          <a:xfrm>
            <a:off x="631776" y="303646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 Indicadores de Produção Hospitalar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15E38536-4889-4735-AF77-AE0106695A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4311" y="1709122"/>
            <a:ext cx="9248193" cy="2872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77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2F200629-038F-4457-8457-602EFA9248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328" y="122552"/>
            <a:ext cx="10513168" cy="5834185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1731FFA7-776F-40F4-9840-F5CAE0F3753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08368" y="1700808"/>
            <a:ext cx="2496793" cy="2520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360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AA40C9DF-A5F0-4852-8294-201D3002CC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336" y="41864"/>
            <a:ext cx="10369152" cy="5887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08180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Recursos Humanos | Agosto 2025</a:t>
            </a:r>
          </a:p>
          <a:p>
            <a:pPr>
              <a:defRPr/>
            </a:pPr>
            <a:endParaRPr lang="pt-BR" sz="32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463AE13C-B7CE-43D9-AF4C-45BCA4228DCD}"/>
              </a:ext>
            </a:extLst>
          </p:cNvPr>
          <p:cNvSpPr txBox="1"/>
          <p:nvPr/>
        </p:nvSpPr>
        <p:spPr>
          <a:xfrm>
            <a:off x="8256241" y="184391"/>
            <a:ext cx="2833749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sz="3200" b="1">
                <a:solidFill>
                  <a:srgbClr val="006A6B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pt-BR" sz="1000" dirty="0">
                <a:latin typeface="+mn-lt"/>
              </a:rPr>
              <a:t>Média HC 12 últimos meses 2360</a:t>
            </a:r>
          </a:p>
          <a:p>
            <a:endParaRPr lang="pt-BR" sz="1000" dirty="0">
              <a:latin typeface="+mn-lt"/>
            </a:endParaRPr>
          </a:p>
          <a:p>
            <a:pPr algn="ctr"/>
            <a:endParaRPr lang="pt-BR" sz="1400" dirty="0">
              <a:latin typeface="+mn-lt"/>
            </a:endParaRP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3624A5BD-2CB3-4727-80B6-71B14C0DC1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797572"/>
            <a:ext cx="12192000" cy="3855564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0E90678E-5D82-4ECC-BE3A-76A2CFB6C5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1463" y="4546926"/>
            <a:ext cx="10138527" cy="1438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306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Agenda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5FF0B1B-8139-4704-BC7C-5562D8965105}"/>
              </a:ext>
            </a:extLst>
          </p:cNvPr>
          <p:cNvSpPr txBox="1"/>
          <p:nvPr/>
        </p:nvSpPr>
        <p:spPr>
          <a:xfrm>
            <a:off x="818913" y="797572"/>
            <a:ext cx="11373087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spostas e Informes aos Conselheiros</a:t>
            </a:r>
          </a:p>
          <a:p>
            <a:pPr marL="457200" indent="-457200">
              <a:defRPr/>
            </a:pPr>
            <a:endParaRPr lang="pt-BR" sz="2400" dirty="0">
              <a:solidFill>
                <a:schemeClr val="bg1"/>
              </a:solidFill>
              <a:highlight>
                <a:srgbClr val="00969A"/>
              </a:highlight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Metas do Contrato de Gestão e RH – Luana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chemeClr val="bg1"/>
                </a:solidFill>
                <a:highlight>
                  <a:srgbClr val="00969A"/>
                </a:highlight>
                <a:latin typeface="Calibri"/>
              </a:rPr>
              <a:t>Demonstrativo de Resultados – Alexandre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Atendimento ao Cliente e Experiência Paciente – Pedro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torno do Último Encontro: </a:t>
            </a:r>
          </a:p>
          <a:p>
            <a:pPr marL="457200" indent="-45720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lang="pt-BR" b="1" dirty="0">
                <a:solidFill>
                  <a:srgbClr val="008080"/>
                </a:solidFill>
                <a:latin typeface="Calibri"/>
              </a:rPr>
              <a:t>Luana: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 Apresentar os atendimentos realizados em outros municípios</a:t>
            </a:r>
          </a:p>
          <a:p>
            <a:pPr marL="457200" indent="-45720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lang="pt-BR" b="1" dirty="0">
                <a:solidFill>
                  <a:srgbClr val="008080"/>
                </a:solidFill>
                <a:latin typeface="Calibri"/>
              </a:rPr>
              <a:t>Dra. Mariana: 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Apresentar o fluxo do paciente agudo psiquiátrico</a:t>
            </a:r>
          </a:p>
          <a:p>
            <a:pPr marL="457200" lvl="0" indent="-45720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lang="pt-BR" b="1" dirty="0">
                <a:solidFill>
                  <a:srgbClr val="008080"/>
                </a:solidFill>
                <a:latin typeface="Calibri"/>
              </a:rPr>
              <a:t>Dr. Felipe: 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Apresentar tempo de higienização e </a:t>
            </a:r>
            <a:r>
              <a:rPr lang="pt-BR" dirty="0" err="1">
                <a:solidFill>
                  <a:srgbClr val="008080"/>
                </a:solidFill>
                <a:latin typeface="Calibri"/>
              </a:rPr>
              <a:t>Higipró</a:t>
            </a:r>
            <a:endParaRPr lang="pt-BR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lang="pt-BR" b="1" dirty="0">
                <a:solidFill>
                  <a:srgbClr val="008080"/>
                </a:solidFill>
                <a:latin typeface="Calibri"/>
              </a:rPr>
              <a:t>Camila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:</a:t>
            </a:r>
            <a:r>
              <a:rPr lang="pt-BR" dirty="0"/>
              <a:t> 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Verificação do hall de espera dos pacientes classificados em amarelo – referente a cadeiras de rodas</a:t>
            </a:r>
          </a:p>
          <a:p>
            <a:pPr marL="457200" lvl="0" indent="-45720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lang="pt-BR" b="1" dirty="0">
                <a:solidFill>
                  <a:srgbClr val="008080"/>
                </a:solidFill>
                <a:latin typeface="Calibri"/>
              </a:rPr>
              <a:t>Rose: 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Verificar a limpeza da placa “M’Boi” na fachada do Hospital</a:t>
            </a:r>
          </a:p>
          <a:p>
            <a:pPr>
              <a:defRPr/>
            </a:pPr>
            <a:endParaRPr lang="pt-BR" dirty="0">
              <a:solidFill>
                <a:srgbClr val="008080"/>
              </a:solidFill>
              <a:latin typeface="Calibri"/>
            </a:endParaRPr>
          </a:p>
          <a:p>
            <a:pPr>
              <a:defRPr/>
            </a:pPr>
            <a:endParaRPr lang="pt-BR" dirty="0">
              <a:solidFill>
                <a:srgbClr val="008080"/>
              </a:solidFill>
              <a:latin typeface="Calibri"/>
            </a:endParaRPr>
          </a:p>
          <a:p>
            <a:pPr lvl="0">
              <a:buSzPts val="1000"/>
              <a:tabLst>
                <a:tab pos="457200" algn="l"/>
              </a:tabLst>
              <a:defRPr/>
            </a:pPr>
            <a:endParaRPr lang="pt-BR" dirty="0">
              <a:solidFill>
                <a:srgbClr val="008080"/>
              </a:solidFill>
              <a:latin typeface="Calibri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pt-BR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571088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think-cell data - do not delete" hidden="1">
            <a:extLst>
              <a:ext uri="{FF2B5EF4-FFF2-40B4-BE49-F238E27FC236}">
                <a16:creationId xmlns:a16="http://schemas.microsoft.com/office/drawing/2014/main" id="{CEC476ED-81B3-474C-CCB4-2BDD08FC80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2" name="Slide do think-cell" r:id="rId44" imgW="395" imgH="396" progId="TCLayout.ActiveDocument.1">
                  <p:embed/>
                </p:oleObj>
              </mc:Choice>
              <mc:Fallback>
                <p:oleObj name="Slide do think-cell" r:id="rId44" imgW="395" imgH="396" progId="TCLayout.ActiveDocument.1">
                  <p:embed/>
                  <p:pic>
                    <p:nvPicPr>
                      <p:cNvPr id="3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C476ED-81B3-474C-CCB4-2BDD08FC80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46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4B54C249-80A2-13C4-2C81-7F28DE52275B}"/>
              </a:ext>
            </a:extLst>
          </p:cNvPr>
          <p:cNvSpPr/>
          <p:nvPr/>
        </p:nvSpPr>
        <p:spPr>
          <a:xfrm>
            <a:off x="8052962" y="44624"/>
            <a:ext cx="4091710" cy="7072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270C2CCD-98A5-CDF0-0C71-A27F4B2AF0C0}"/>
              </a:ext>
            </a:extLst>
          </p:cNvPr>
          <p:cNvPicPr>
            <a:picLocks noChangeAspect="1"/>
          </p:cNvPicPr>
          <p:nvPr/>
        </p:nvPicPr>
        <p:blipFill>
          <a:blip r:embed="rId46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6560" y="-27384"/>
            <a:ext cx="1098421" cy="787431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3E5B9435-E6BE-4869-8937-A5023DD09C29}"/>
              </a:ext>
            </a:extLst>
          </p:cNvPr>
          <p:cNvSpPr txBox="1"/>
          <p:nvPr/>
        </p:nvSpPr>
        <p:spPr>
          <a:xfrm>
            <a:off x="47328" y="97468"/>
            <a:ext cx="95770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800" b="1" dirty="0" err="1">
                <a:solidFill>
                  <a:srgbClr val="006A6B"/>
                </a:solidFill>
                <a:latin typeface="Trebuchet MS" panose="020B0603020202020204" pitchFamily="34" charset="0"/>
              </a:rPr>
              <a:t>Destaques</a:t>
            </a:r>
            <a:r>
              <a:rPr lang="en-US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 </a:t>
            </a:r>
            <a:r>
              <a:rPr lang="en-US" sz="2800" b="1" dirty="0" err="1">
                <a:solidFill>
                  <a:srgbClr val="006A6B"/>
                </a:solidFill>
                <a:latin typeface="Trebuchet MS" panose="020B0603020202020204" pitchFamily="34" charset="0"/>
              </a:rPr>
              <a:t>Financeiros</a:t>
            </a:r>
            <a:r>
              <a:rPr lang="en-US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| Agosto 2025</a:t>
            </a:r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3" name="Group 149">
            <a:extLst>
              <a:ext uri="{FF2B5EF4-FFF2-40B4-BE49-F238E27FC236}">
                <a16:creationId xmlns:a16="http://schemas.microsoft.com/office/drawing/2014/main" id="{3A6290B4-8901-4680-2831-39C45EDAC90E}"/>
              </a:ext>
            </a:extLst>
          </p:cNvPr>
          <p:cNvGrpSpPr/>
          <p:nvPr/>
        </p:nvGrpSpPr>
        <p:grpSpPr>
          <a:xfrm>
            <a:off x="240485" y="999274"/>
            <a:ext cx="8159771" cy="3042502"/>
            <a:chOff x="4663440" y="1389859"/>
            <a:chExt cx="6868160" cy="4840284"/>
          </a:xfrm>
        </p:grpSpPr>
        <p:sp>
          <p:nvSpPr>
            <p:cNvPr id="6" name="Rectangle 150">
              <a:extLst>
                <a:ext uri="{FF2B5EF4-FFF2-40B4-BE49-F238E27FC236}">
                  <a16:creationId xmlns:a16="http://schemas.microsoft.com/office/drawing/2014/main" id="{C9464DAD-08D9-6FAC-739C-519BD32C7493}"/>
                </a:ext>
              </a:extLst>
            </p:cNvPr>
            <p:cNvSpPr/>
            <p:nvPr/>
          </p:nvSpPr>
          <p:spPr>
            <a:xfrm>
              <a:off x="4668520" y="1389859"/>
              <a:ext cx="6858000" cy="484028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17452" fontAlgn="auto">
                <a:spcBef>
                  <a:spcPts val="0"/>
                </a:spcBef>
                <a:spcAft>
                  <a:spcPts val="0"/>
                </a:spcAft>
              </a:pPr>
              <a:endParaRPr lang="en-US" sz="1249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151">
              <a:extLst>
                <a:ext uri="{FF2B5EF4-FFF2-40B4-BE49-F238E27FC236}">
                  <a16:creationId xmlns:a16="http://schemas.microsoft.com/office/drawing/2014/main" id="{A622CC57-0787-3B2E-CB94-4A57EF08879D}"/>
                </a:ext>
              </a:extLst>
            </p:cNvPr>
            <p:cNvCxnSpPr>
              <a:cxnSpLocks/>
            </p:cNvCxnSpPr>
            <p:nvPr/>
          </p:nvCxnSpPr>
          <p:spPr>
            <a:xfrm>
              <a:off x="4663440" y="1389859"/>
              <a:ext cx="6868160" cy="0"/>
            </a:xfrm>
            <a:prstGeom prst="line">
              <a:avLst/>
            </a:prstGeom>
            <a:ln w="12700">
              <a:solidFill>
                <a:srgbClr val="39959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152">
              <a:extLst>
                <a:ext uri="{FF2B5EF4-FFF2-40B4-BE49-F238E27FC236}">
                  <a16:creationId xmlns:a16="http://schemas.microsoft.com/office/drawing/2014/main" id="{4D46ED22-34CF-4943-378E-E3E5B851695B}"/>
                </a:ext>
              </a:extLst>
            </p:cNvPr>
            <p:cNvCxnSpPr>
              <a:cxnSpLocks/>
            </p:cNvCxnSpPr>
            <p:nvPr/>
          </p:nvCxnSpPr>
          <p:spPr>
            <a:xfrm>
              <a:off x="4663440" y="6230143"/>
              <a:ext cx="6868160" cy="0"/>
            </a:xfrm>
            <a:prstGeom prst="line">
              <a:avLst/>
            </a:prstGeom>
            <a:ln w="12700">
              <a:solidFill>
                <a:srgbClr val="004F9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tângulo 4">
            <a:extLst>
              <a:ext uri="{FF2B5EF4-FFF2-40B4-BE49-F238E27FC236}">
                <a16:creationId xmlns:a16="http://schemas.microsoft.com/office/drawing/2014/main" id="{87622168-D6A1-C16D-6626-404AB9329188}"/>
              </a:ext>
            </a:extLst>
          </p:cNvPr>
          <p:cNvSpPr/>
          <p:nvPr/>
        </p:nvSpPr>
        <p:spPr>
          <a:xfrm>
            <a:off x="79188" y="673334"/>
            <a:ext cx="4540647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l" defTabSz="317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400" b="1" dirty="0">
                <a:solidFill>
                  <a:srgbClr val="399593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Demonstrativo de Resultado e Posição de Caixa</a:t>
            </a:r>
          </a:p>
        </p:txBody>
      </p:sp>
      <p:graphicFrame>
        <p:nvGraphicFramePr>
          <p:cNvPr id="93" name="Chart 3">
            <a:extLst>
              <a:ext uri="{FF2B5EF4-FFF2-40B4-BE49-F238E27FC236}">
                <a16:creationId xmlns:a16="http://schemas.microsoft.com/office/drawing/2014/main" id="{AB4FC80C-003B-310A-89E0-ED9B493FF371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193675" y="4530725"/>
          <a:ext cx="11817350" cy="995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cxnSp>
        <p:nvCxnSpPr>
          <p:cNvPr id="83" name="Conector reto 82">
            <a:extLst>
              <a:ext uri="{FF2B5EF4-FFF2-40B4-BE49-F238E27FC236}">
                <a16:creationId xmlns:a16="http://schemas.microsoft.com/office/drawing/2014/main" id="{54F08B3E-E3C6-89F3-BD18-6F4E332EEFF6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8158163" y="4514850"/>
            <a:ext cx="0" cy="1666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Conector reto 83">
            <a:extLst>
              <a:ext uri="{FF2B5EF4-FFF2-40B4-BE49-F238E27FC236}">
                <a16:creationId xmlns:a16="http://schemas.microsoft.com/office/drawing/2014/main" id="{FD1151E3-4F1B-627F-7F6B-098066A2C767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158163" y="4514850"/>
            <a:ext cx="6858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Conector reto 84">
            <a:extLst>
              <a:ext uri="{FF2B5EF4-FFF2-40B4-BE49-F238E27FC236}">
                <a16:creationId xmlns:a16="http://schemas.microsoft.com/office/drawing/2014/main" id="{49E0B6F5-D66D-39ED-1477-6AF9461AAED6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8843963" y="451485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1" name="Espaço Reservado para Texto 2">
            <a:extLst>
              <a:ext uri="{FF2B5EF4-FFF2-40B4-BE49-F238E27FC236}">
                <a16:creationId xmlns:a16="http://schemas.microsoft.com/office/drawing/2014/main" id="{4012E690-FDBA-0312-1EEE-A3D2F62C9C7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340725" y="4406900"/>
            <a:ext cx="322263" cy="21590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74C708A-1DDF-461F-9EE4-11DEFF14926F}" type="datetime'+''''''''''''''1'',''1'''''''''''''''''">
              <a:rPr lang="pt-BR" altLang="en-US" sz="1000" b="1" smtClean="0">
                <a:effectLst/>
              </a:rPr>
              <a:pPr/>
              <a:t>+1,1</a:t>
            </a:fld>
            <a:endParaRPr lang="pt-BR" sz="1000" b="1" dirty="0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53E03636-AC29-DFF3-CCBC-E31ED83CAF81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2381250" y="4200525"/>
            <a:ext cx="179388" cy="133350"/>
          </a:xfrm>
          <a:prstGeom prst="rect">
            <a:avLst/>
          </a:prstGeom>
          <a:solidFill>
            <a:srgbClr val="6F8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4" name="Conector reto 13">
            <a:extLst>
              <a:ext uri="{FF2B5EF4-FFF2-40B4-BE49-F238E27FC236}">
                <a16:creationId xmlns:a16="http://schemas.microsoft.com/office/drawing/2014/main" id="{9E02BE3B-7420-4081-EDE3-9D8730E79C6D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3467100" y="4267200"/>
            <a:ext cx="5715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988A1FDD-6B9B-54C9-42D5-B79ED831EEA2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 flipH="1">
            <a:off x="3203575" y="4267200"/>
            <a:ext cx="5715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Elipse 15">
            <a:extLst>
              <a:ext uri="{FF2B5EF4-FFF2-40B4-BE49-F238E27FC236}">
                <a16:creationId xmlns:a16="http://schemas.microsoft.com/office/drawing/2014/main" id="{F3F70B0F-58FC-3CF4-1D38-B1BD4A086C40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332163" y="4235450"/>
            <a:ext cx="63500" cy="63500"/>
          </a:xfrm>
          <a:prstGeom prst="ellipse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Espaço Reservado para Texto 2">
            <a:extLst>
              <a:ext uri="{FF2B5EF4-FFF2-40B4-BE49-F238E27FC236}">
                <a16:creationId xmlns:a16="http://schemas.microsoft.com/office/drawing/2014/main" id="{0894036D-6081-A67F-6294-E270A176AC9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611438" y="4208463"/>
            <a:ext cx="481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buNone/>
            </a:pPr>
            <a:fld id="{F327E183-24A5-4448-8631-509F538250BF}" type="datetime'''''''''R''''''''epa''''ss''''e''''s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Repasses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Espaço Reservado para Texto 2">
            <a:extLst>
              <a:ext uri="{FF2B5EF4-FFF2-40B4-BE49-F238E27FC236}">
                <a16:creationId xmlns:a16="http://schemas.microsoft.com/office/drawing/2014/main" id="{E2449F15-40AC-3E70-FC6B-A2FBB3BB19F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584575" y="4208463"/>
            <a:ext cx="706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buNone/>
            </a:pPr>
            <a:fld id="{DF551427-5DBF-422C-B6D5-53E806194717}" type="datetime'''G''''''''''as''t''''o''''s ''T''ota''''''i''s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Gastos Totais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aphicFrame>
        <p:nvGraphicFramePr>
          <p:cNvPr id="94" name="Chart 3">
            <a:extLst>
              <a:ext uri="{FF2B5EF4-FFF2-40B4-BE49-F238E27FC236}">
                <a16:creationId xmlns:a16="http://schemas.microsoft.com/office/drawing/2014/main" id="{56BA19BD-76C0-C755-B4AF-BB7548FBAD18}"/>
              </a:ext>
            </a:extLst>
          </p:cNvPr>
          <p:cNvGraphicFramePr/>
          <p:nvPr>
            <p:custDataLst>
              <p:tags r:id="rId14"/>
            </p:custDataLst>
          </p:nvPr>
        </p:nvGraphicFramePr>
        <p:xfrm>
          <a:off x="180975" y="5197475"/>
          <a:ext cx="11841163" cy="833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E7230226-31B8-3128-B98C-71D207BAC3D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20688" y="5848350"/>
            <a:ext cx="371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536AB73-B3F4-45CA-AD2D-048855268CB0}" type="datetime'''''ag''''''o''''''''''''-''''2''''''4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ago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6A30F05-774B-5F7D-2705-6142BB61EBE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123950" y="5848350"/>
            <a:ext cx="3397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27F7A7C-040E-41D8-8186-AC81D378C577}" type="datetime'''s''''''''''''e''''t''''''''''''-''''''''''2''''4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set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802CA6B6-7C78-F1BA-2C1A-78D5AD2D198C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798638" y="5848350"/>
            <a:ext cx="3619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ADD2C18-7E84-4B08-83E6-5E7BD19FE457}" type="datetime'''''''''''''''''''''''''''o''''''''ut''-''''''''''2''''4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out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EDF2199-11CC-29AE-AD2A-68E587563A54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478088" y="5848350"/>
            <a:ext cx="377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B6D03B1-B532-47B6-9D26-4E3A35F3EC8B}" type="datetime'''n''''o''''''''''''v''-''''''''''2''''4''''''''''''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nov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B7D496D4-1F47-A2AD-8117-E4EEE97AB58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173413" y="5848350"/>
            <a:ext cx="3635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73220F7-06DA-4BE5-A0B1-53E28F255F91}" type="datetime'''de''''z''''''''''''''''-''''''''''''2''4''''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dez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27034018-B8B7-1291-C56D-CC4F292995F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868738" y="5848350"/>
            <a:ext cx="3429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35D78CF-B628-41CB-A8D1-D7534FE8A551}" type="datetime'j''''''''''a''''n''''''''''''''''''''''''''''-''2''''''''''5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jan-25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EB9CC01-6DB8-9AC2-4CE8-45511285C80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556125" y="5848350"/>
            <a:ext cx="344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5AE3EA5-E3B6-48DC-9E55-CA8F876149A7}" type="datetime'''f''''''''''''e''''''''''''''''v-''''''2''''5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fev-25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62637C1A-1C6D-7BFF-99B9-A0054212EF0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219700" y="5848350"/>
            <a:ext cx="390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EC734A2-BCA1-4370-BF31-E9ACCB80107F}" type="datetime'''''ma''''''''''''r-''''''''''''''''''2''''''''5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mar-25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FAC6175-CBF9-5D27-99F3-E03939A5A3A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922963" y="5848350"/>
            <a:ext cx="355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E68B876-A7B5-4DAF-9C8B-EC687792D98E}" type="datetime'''''''''''''''a''''''b''''r''''-''2''''''''''''5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abr-25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2" name="Espaço Reservado para Texto 2">
            <a:extLst>
              <a:ext uri="{FF2B5EF4-FFF2-40B4-BE49-F238E27FC236}">
                <a16:creationId xmlns:a16="http://schemas.microsoft.com/office/drawing/2014/main" id="{88E230CF-AC0D-48FF-6F2B-83D010A706E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689725" y="5535613"/>
            <a:ext cx="198438" cy="136525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4E3434AD-1148-4DE4-B82A-9D7AA70FCCA6}" type="datetime'''''''''''''''''''''''9,''4'">
              <a:rPr lang="pt-BR" altLang="en-US" sz="1000" b="1" smtClean="0">
                <a:effectLst/>
              </a:rPr>
              <a:pPr/>
              <a:t>9,4</a:t>
            </a:fld>
            <a:endParaRPr lang="pt-BR" sz="1000" b="1" dirty="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C5235B77-B576-05E3-1D57-E5DB213C003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599238" y="5848350"/>
            <a:ext cx="377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A918B3B-C92C-4229-869C-AE35C59FBAD1}" type="datetime'''''ma''''''''''i''''-''''2''''''''''''''''''''''''''5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mai-25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4" name="Espaço Reservado para Texto 2">
            <a:extLst>
              <a:ext uri="{FF2B5EF4-FFF2-40B4-BE49-F238E27FC236}">
                <a16:creationId xmlns:a16="http://schemas.microsoft.com/office/drawing/2014/main" id="{F0250C33-62EB-B1C6-868C-6F77C07BCB0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7375525" y="5541963"/>
            <a:ext cx="198438" cy="136525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2C625FFD-8D84-413D-B4DD-6B873A586ECC}" type="datetime'''''''''''''''''''''''''''''''''''''8'''''''''',1'''''''''''''">
              <a:rPr lang="pt-BR" altLang="en-US" sz="1000" b="1" smtClean="0">
                <a:effectLst/>
              </a:rPr>
              <a:pPr/>
              <a:t>8,1</a:t>
            </a:fld>
            <a:endParaRPr lang="pt-BR" sz="1000" b="1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B209E067-CAE5-D9E8-0AA7-0039F20C49E8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299325" y="5848350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6AE3C2D-0EDE-45CA-BA5C-3B3BCCBB0382}" type="datetime'''''''j''''''''''u''''''n''-''''''''''2''5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jun-25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7" name="Espaço Reservado para Texto 2">
            <a:extLst>
              <a:ext uri="{FF2B5EF4-FFF2-40B4-BE49-F238E27FC236}">
                <a16:creationId xmlns:a16="http://schemas.microsoft.com/office/drawing/2014/main" id="{2E116A72-4B23-7A07-8549-45048574D943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8062913" y="5545138"/>
            <a:ext cx="198438" cy="136525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BCFC32-77D9-462B-AF47-E963B3A481B7}" type="datetime'''''''''''''7'''''''''''''''''''''',''''''6'''''''''''">
              <a:rPr lang="pt-BR" altLang="en-US" sz="1000" b="1" smtClean="0">
                <a:effectLst/>
              </a:rPr>
              <a:pPr/>
              <a:t>7,6</a:t>
            </a:fld>
            <a:endParaRPr lang="pt-BR" sz="1000" b="1" dirty="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36F038A9-BD63-AAB6-BA07-C71993B61B1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8005763" y="5848350"/>
            <a:ext cx="3127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A69CF0-EC8F-4E75-AACE-266F039F8EA0}" type="datetime'j''''u''''''''''''''''''''''''''''l''''-''25''''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jul-25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8" name="Espaço Reservado para Texto 2">
            <a:extLst>
              <a:ext uri="{FF2B5EF4-FFF2-40B4-BE49-F238E27FC236}">
                <a16:creationId xmlns:a16="http://schemas.microsoft.com/office/drawing/2014/main" id="{AC257D6D-44A1-2894-66BA-67F09D438F2B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8750300" y="5548313"/>
            <a:ext cx="198438" cy="136525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AB26CC38-57A9-4881-83B5-0C185823C113}" type="datetime'6'''''',''''''''''''9'''''''''''''''">
              <a:rPr lang="pt-BR" altLang="en-US" sz="1000" b="1" smtClean="0">
                <a:effectLst/>
              </a:rPr>
              <a:pPr/>
              <a:t>6,9</a:t>
            </a:fld>
            <a:endParaRPr lang="pt-BR" sz="1000" b="1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0BB0051E-9B3C-C75B-2354-4DE64A01A33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662988" y="5848350"/>
            <a:ext cx="371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1572EB2-1E9A-4B4C-83A8-BA6C9437D3D2}" type="datetime'''''''''''''''''''''''ag''o''''''''''''''''-''25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ago-25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9" name="Espaço Reservado para Texto 2">
            <a:extLst>
              <a:ext uri="{FF2B5EF4-FFF2-40B4-BE49-F238E27FC236}">
                <a16:creationId xmlns:a16="http://schemas.microsoft.com/office/drawing/2014/main" id="{7AA8954C-F1EE-02C9-DB61-C1BE4F9164B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9436100" y="5551488"/>
            <a:ext cx="198438" cy="1365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3A48E45C-8B00-476D-8EF6-E411103797EA}" type="datetime'''''6'''''''''''''''''''',''''1'''''''''''''''''''">
              <a:rPr lang="pt-BR" altLang="en-US" sz="1000" b="1" smtClean="0">
                <a:effectLst/>
              </a:rPr>
              <a:pPr/>
              <a:t>6,1</a:t>
            </a:fld>
            <a:endParaRPr lang="pt-BR" sz="1000" b="1"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6926AD3D-D2C9-789D-0533-7E4D013A2211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9364663" y="5848350"/>
            <a:ext cx="3397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7CB40D-300C-43F9-9A2D-E85768FB0EE1}" type="datetime'''''s''''''e''''''''''''''t''''-''2''''''5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set-25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5" name="Espaço Reservado para Texto 2">
            <a:extLst>
              <a:ext uri="{FF2B5EF4-FFF2-40B4-BE49-F238E27FC236}">
                <a16:creationId xmlns:a16="http://schemas.microsoft.com/office/drawing/2014/main" id="{DA4F81B8-B35E-B8AC-F9C6-028A73629F9F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0123488" y="5557838"/>
            <a:ext cx="198438" cy="1365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42A2D7C5-4E67-4979-87A0-C6B9EAF81AA4}" type="datetime'''''''''''''''5'''''''''''''''''''''''''''''''''',''''''''''1'">
              <a:rPr lang="pt-BR" altLang="en-US" sz="1000" b="1" smtClean="0">
                <a:effectLst/>
              </a:rPr>
              <a:pPr/>
              <a:t>5,1</a:t>
            </a:fld>
            <a:endParaRPr lang="pt-BR" sz="1000" b="1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8C6D57A7-6968-BC3B-5C06-891ABC9223EA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0040938" y="5848350"/>
            <a:ext cx="3619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19414A2-2EC1-49D3-82E5-04052E9E1FD1}" type="datetime'''''o''''''''''u''''''t''''''-''''''''2''5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out-25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6" name="Espaço Reservado para Texto 2">
            <a:extLst>
              <a:ext uri="{FF2B5EF4-FFF2-40B4-BE49-F238E27FC236}">
                <a16:creationId xmlns:a16="http://schemas.microsoft.com/office/drawing/2014/main" id="{F5423719-627C-C112-A329-3B45918F1E1C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0791825" y="5610225"/>
            <a:ext cx="236538" cy="1365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5120A2D4-7271-4C4D-9896-EDEBECF3E54F}" type="datetime'-''4'''''''''''''''''''''',''9'''''''">
              <a:rPr lang="pt-BR" altLang="en-US" sz="1000" b="1" smtClean="0">
                <a:solidFill>
                  <a:srgbClr val="C30C3E"/>
                </a:solidFill>
                <a:effectLst/>
              </a:rPr>
              <a:pPr/>
              <a:t>-4,9</a:t>
            </a:fld>
            <a:endParaRPr lang="pt-BR" sz="1000" b="1" dirty="0">
              <a:solidFill>
                <a:srgbClr val="C30C3E"/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37B4CEB8-177F-2863-7E90-A69B4212DB5C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0720388" y="5848350"/>
            <a:ext cx="377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ECC4C15-287C-4F96-B7AE-AC0A3404ECEF}" type="datetime'''n''''''''''o''''''''''''''''''''v-''''2''''''''''5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nov-25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9" name="Espaço Reservado para Texto 2">
            <a:extLst>
              <a:ext uri="{FF2B5EF4-FFF2-40B4-BE49-F238E27FC236}">
                <a16:creationId xmlns:a16="http://schemas.microsoft.com/office/drawing/2014/main" id="{B698D614-177E-2DB9-5F77-8A43DBDDC5A1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11444288" y="5661025"/>
            <a:ext cx="301625" cy="1365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9E327658-85A3-4954-8336-DB4F3AFB8926}" type="datetime'''''''-1''''''''''''''''4'''''''''''''''''''''''',''''''''6'">
              <a:rPr lang="pt-BR" altLang="en-US" sz="1000" b="1" smtClean="0">
                <a:solidFill>
                  <a:srgbClr val="C30C3E"/>
                </a:solidFill>
                <a:effectLst/>
              </a:rPr>
              <a:pPr/>
              <a:t>-14,6</a:t>
            </a:fld>
            <a:endParaRPr lang="pt-BR" sz="1000" b="1" dirty="0">
              <a:solidFill>
                <a:srgbClr val="C30C3E"/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FF2C505-F6E6-C789-B0AB-0D05BA98BD44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1414125" y="5848350"/>
            <a:ext cx="3635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DA66AE2-8E22-4245-9EEB-51ACBD62A7C9}" type="datetime'''''''''''''''''''''''d''''''''''e''''z''-''''''2''''''''5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dez-25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33BB37B2-112D-CCF9-2E48-4D47ACBEF877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4491038" y="4205288"/>
            <a:ext cx="179388" cy="133350"/>
          </a:xfrm>
          <a:prstGeom prst="rect">
            <a:avLst/>
          </a:prstGeom>
          <a:solidFill>
            <a:srgbClr val="C0C0C0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65FE1D7D-5963-9F30-6373-237130CEFA00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4721225" y="4200525"/>
            <a:ext cx="958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4A3AC1A-8E79-4CC6-8051-93168ED78338}" type="datetime'''C''''ai''x''''a e Ap''l''''''''ic''''''''''ações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Caixa e Aplicações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2" name="Retângulo 4">
            <a:extLst>
              <a:ext uri="{FF2B5EF4-FFF2-40B4-BE49-F238E27FC236}">
                <a16:creationId xmlns:a16="http://schemas.microsoft.com/office/drawing/2014/main" id="{2B8662D8-AC66-34DB-AB06-77A96C2CF636}"/>
              </a:ext>
            </a:extLst>
          </p:cNvPr>
          <p:cNvSpPr/>
          <p:nvPr/>
        </p:nvSpPr>
        <p:spPr>
          <a:xfrm>
            <a:off x="144263" y="4149445"/>
            <a:ext cx="4540647" cy="46166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l" defTabSz="317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Evolução Mensal </a:t>
            </a: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(R$ MM)</a:t>
            </a:r>
          </a:p>
          <a:p>
            <a:pPr marL="0" marR="0" lvl="0" indent="0" algn="l" defTabSz="317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i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Últimos 12 meses</a:t>
            </a:r>
          </a:p>
        </p:txBody>
      </p:sp>
      <p:sp>
        <p:nvSpPr>
          <p:cNvPr id="64" name="Retângulo 4">
            <a:extLst>
              <a:ext uri="{FF2B5EF4-FFF2-40B4-BE49-F238E27FC236}">
                <a16:creationId xmlns:a16="http://schemas.microsoft.com/office/drawing/2014/main" id="{5BA7DA4E-58E2-83ED-2BFC-DC83E8A7BE18}"/>
              </a:ext>
            </a:extLst>
          </p:cNvPr>
          <p:cNvSpPr/>
          <p:nvPr/>
        </p:nvSpPr>
        <p:spPr>
          <a:xfrm>
            <a:off x="8487950" y="937751"/>
            <a:ext cx="3523075" cy="313932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just" defTabSz="317472">
              <a:defRPr/>
            </a:pPr>
            <a:r>
              <a:rPr lang="pt-BR" sz="11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O plano de trabalho permanece congelado com o mesmo valor de dez/24 (R$ 28,3MM) e, estão sendo negociados valores complementares para os acordos coletivos e inflações acumuladas para reequilíbrio do contrato.</a:t>
            </a:r>
          </a:p>
          <a:p>
            <a:pPr algn="just" defTabSz="317472">
              <a:defRPr/>
            </a:pPr>
            <a:endParaRPr lang="pt-BR" sz="1100" dirty="0">
              <a:solidFill>
                <a:srgbClr val="404040"/>
              </a:solidFill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algn="just" defTabSz="317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1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No período acumulado até agosto, os </a:t>
            </a:r>
            <a:r>
              <a:rPr lang="pt-BR" sz="11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gastos totais </a:t>
            </a:r>
            <a:r>
              <a:rPr lang="pt-BR" sz="11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ficaram </a:t>
            </a:r>
            <a:r>
              <a:rPr lang="pt-BR" sz="11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7,4% acima do plano de trabalho pactuado</a:t>
            </a:r>
            <a:r>
              <a:rPr lang="pt-BR" sz="11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, sendo as linhas de</a:t>
            </a:r>
            <a:r>
              <a:rPr lang="pt-BR" sz="11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Serviços e Outros Custos e Despesas 16,6% acima, Materiais e Medicamentos 6,9% acima e Mão de Obra, 5,4% acima.</a:t>
            </a:r>
            <a:endParaRPr lang="pt-BR" sz="1100" dirty="0">
              <a:solidFill>
                <a:srgbClr val="404040"/>
              </a:solidFill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algn="just" defTabSz="317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1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O </a:t>
            </a:r>
            <a:r>
              <a:rPr lang="pt-BR" sz="11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déficit total </a:t>
            </a:r>
            <a:r>
              <a:rPr lang="pt-BR" sz="11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foi de </a:t>
            </a:r>
            <a:r>
              <a:rPr lang="pt-BR" sz="11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R$ 15,2MM </a:t>
            </a:r>
            <a:r>
              <a:rPr lang="pt-BR" sz="11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até agosto.</a:t>
            </a:r>
          </a:p>
          <a:p>
            <a:pPr algn="just" defTabSz="317472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100" dirty="0">
              <a:solidFill>
                <a:srgbClr val="404040"/>
              </a:solidFill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algn="just" defTabSz="317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1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O </a:t>
            </a:r>
            <a:r>
              <a:rPr lang="pt-BR" sz="11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Patrimônio Líquido</a:t>
            </a:r>
            <a:r>
              <a:rPr lang="pt-BR" sz="11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* é o saldo acumulado contemplando os períodos anteriores e o atual (repasses, gastos e resultado financeiro). Em dez/24, o saldo foi de -R$ 40,3MM e em agosto/25, -R$ 55,5MM.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DFD90719-F350-1FBD-DAC1-612047C083CB}"/>
              </a:ext>
            </a:extLst>
          </p:cNvPr>
          <p:cNvSpPr/>
          <p:nvPr/>
        </p:nvSpPr>
        <p:spPr>
          <a:xfrm>
            <a:off x="9192344" y="4611110"/>
            <a:ext cx="2724150" cy="1419803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432AC396-C555-1B0A-062E-449ED06693F7}"/>
              </a:ext>
            </a:extLst>
          </p:cNvPr>
          <p:cNvSpPr txBox="1"/>
          <p:nvPr/>
        </p:nvSpPr>
        <p:spPr>
          <a:xfrm>
            <a:off x="9161674" y="4139149"/>
            <a:ext cx="271760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Projeção de Déficits Operacionais</a:t>
            </a:r>
          </a:p>
        </p:txBody>
      </p:sp>
      <p:sp>
        <p:nvSpPr>
          <p:cNvPr id="63" name="Retângulo 4">
            <a:extLst>
              <a:ext uri="{FF2B5EF4-FFF2-40B4-BE49-F238E27FC236}">
                <a16:creationId xmlns:a16="http://schemas.microsoft.com/office/drawing/2014/main" id="{1A520ACD-252A-D92E-F391-AAFFDC3491A3}"/>
              </a:ext>
            </a:extLst>
          </p:cNvPr>
          <p:cNvSpPr/>
          <p:nvPr/>
        </p:nvSpPr>
        <p:spPr>
          <a:xfrm>
            <a:off x="276298" y="6093296"/>
            <a:ext cx="8173964" cy="2616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just" defTabSz="317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1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Na projeção de Caixa, desconsiderando a reserva de investimento da UPA (R$ 3,3MM) em </a:t>
            </a:r>
            <a:r>
              <a:rPr lang="pt-BR" sz="1100" dirty="0" err="1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nov</a:t>
            </a:r>
            <a:r>
              <a:rPr lang="pt-BR" sz="11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/25 o caixa será de –R$ 8,2MM.</a:t>
            </a:r>
          </a:p>
        </p:txBody>
      </p:sp>
      <p:sp>
        <p:nvSpPr>
          <p:cNvPr id="66" name="CaixaDeTexto 65">
            <a:extLst>
              <a:ext uri="{FF2B5EF4-FFF2-40B4-BE49-F238E27FC236}">
                <a16:creationId xmlns:a16="http://schemas.microsoft.com/office/drawing/2014/main" id="{D6EF5B26-F5CB-767D-FB05-4E63FEAFC01F}"/>
              </a:ext>
            </a:extLst>
          </p:cNvPr>
          <p:cNvSpPr txBox="1"/>
          <p:nvPr/>
        </p:nvSpPr>
        <p:spPr>
          <a:xfrm>
            <a:off x="9264352" y="4334445"/>
            <a:ext cx="5182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i="1" dirty="0">
                <a:solidFill>
                  <a:srgbClr val="FF000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-3,3</a:t>
            </a:r>
          </a:p>
        </p:txBody>
      </p:sp>
      <p:sp>
        <p:nvSpPr>
          <p:cNvPr id="67" name="CaixaDeTexto 66">
            <a:extLst>
              <a:ext uri="{FF2B5EF4-FFF2-40B4-BE49-F238E27FC236}">
                <a16:creationId xmlns:a16="http://schemas.microsoft.com/office/drawing/2014/main" id="{1CD4CCD7-D65F-DDF6-3746-03EC8804F6FD}"/>
              </a:ext>
            </a:extLst>
          </p:cNvPr>
          <p:cNvSpPr txBox="1"/>
          <p:nvPr/>
        </p:nvSpPr>
        <p:spPr>
          <a:xfrm>
            <a:off x="9912424" y="4334445"/>
            <a:ext cx="5182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i="1" dirty="0">
                <a:solidFill>
                  <a:srgbClr val="FF000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-2,8</a:t>
            </a:r>
          </a:p>
        </p:txBody>
      </p:sp>
      <p:sp>
        <p:nvSpPr>
          <p:cNvPr id="68" name="CaixaDeTexto 67">
            <a:extLst>
              <a:ext uri="{FF2B5EF4-FFF2-40B4-BE49-F238E27FC236}">
                <a16:creationId xmlns:a16="http://schemas.microsoft.com/office/drawing/2014/main" id="{D241B59F-FA4D-1314-4B8D-0CA62A263E6A}"/>
              </a:ext>
            </a:extLst>
          </p:cNvPr>
          <p:cNvSpPr txBox="1"/>
          <p:nvPr/>
        </p:nvSpPr>
        <p:spPr>
          <a:xfrm>
            <a:off x="10632504" y="4334445"/>
            <a:ext cx="5182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i="1" dirty="0">
                <a:solidFill>
                  <a:srgbClr val="FF000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-2,8</a:t>
            </a:r>
          </a:p>
        </p:txBody>
      </p:sp>
      <p:sp>
        <p:nvSpPr>
          <p:cNvPr id="70" name="CaixaDeTexto 69">
            <a:extLst>
              <a:ext uri="{FF2B5EF4-FFF2-40B4-BE49-F238E27FC236}">
                <a16:creationId xmlns:a16="http://schemas.microsoft.com/office/drawing/2014/main" id="{A843B8A0-818F-EA62-2E3D-0BB8B0E3B750}"/>
              </a:ext>
            </a:extLst>
          </p:cNvPr>
          <p:cNvSpPr txBox="1"/>
          <p:nvPr/>
        </p:nvSpPr>
        <p:spPr>
          <a:xfrm>
            <a:off x="11280576" y="4334445"/>
            <a:ext cx="5182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i="1" dirty="0">
                <a:solidFill>
                  <a:srgbClr val="FF000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-3,1</a:t>
            </a:r>
          </a:p>
        </p:txBody>
      </p:sp>
      <p:graphicFrame>
        <p:nvGraphicFramePr>
          <p:cNvPr id="21" name="Objeto 20">
            <a:extLst>
              <a:ext uri="{FF2B5EF4-FFF2-40B4-BE49-F238E27FC236}">
                <a16:creationId xmlns:a16="http://schemas.microsoft.com/office/drawing/2014/main" id="{7B429695-C9F6-DB95-D8B9-AA3E723DB76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58829102"/>
              </p:ext>
            </p:extLst>
          </p:nvPr>
        </p:nvGraphicFramePr>
        <p:xfrm>
          <a:off x="295750" y="1115566"/>
          <a:ext cx="8001327" cy="28410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3" name="Worksheet" r:id="rId50" imgW="15043113" imgH="5340519" progId="Excel.Sheet.12">
                  <p:link updateAutomatic="1"/>
                </p:oleObj>
              </mc:Choice>
              <mc:Fallback>
                <p:oleObj name="Worksheet" r:id="rId50" imgW="15043113" imgH="5340519" progId="Excel.Sheet.12">
                  <p:link updateAutomatic="1"/>
                  <p:pic>
                    <p:nvPicPr>
                      <p:cNvPr id="21" name="Objeto 20">
                        <a:extLst>
                          <a:ext uri="{FF2B5EF4-FFF2-40B4-BE49-F238E27FC236}">
                            <a16:creationId xmlns:a16="http://schemas.microsoft.com/office/drawing/2014/main" id="{7B429695-C9F6-DB95-D8B9-AA3E723DB7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295750" y="1115566"/>
                        <a:ext cx="8001327" cy="28410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2552627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29571C61-B77E-1A9A-F85F-8F628237A088}"/>
              </a:ext>
            </a:extLst>
          </p:cNvPr>
          <p:cNvSpPr txBox="1"/>
          <p:nvPr/>
        </p:nvSpPr>
        <p:spPr>
          <a:xfrm>
            <a:off x="47328" y="97468"/>
            <a:ext cx="95770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800" b="1" dirty="0" err="1">
                <a:solidFill>
                  <a:srgbClr val="006A6B"/>
                </a:solidFill>
                <a:latin typeface="Trebuchet MS" panose="020B0603020202020204" pitchFamily="34" charset="0"/>
              </a:rPr>
              <a:t>Demonstrativo</a:t>
            </a:r>
            <a:r>
              <a:rPr lang="en-US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 de </a:t>
            </a:r>
            <a:r>
              <a:rPr lang="en-US" sz="2800" b="1" dirty="0" err="1">
                <a:solidFill>
                  <a:srgbClr val="006A6B"/>
                </a:solidFill>
                <a:latin typeface="Trebuchet MS" panose="020B0603020202020204" pitchFamily="34" charset="0"/>
              </a:rPr>
              <a:t>Resultados</a:t>
            </a:r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</p:txBody>
      </p:sp>
      <p:graphicFrame>
        <p:nvGraphicFramePr>
          <p:cNvPr id="3" name="Objeto 2">
            <a:extLst>
              <a:ext uri="{FF2B5EF4-FFF2-40B4-BE49-F238E27FC236}">
                <a16:creationId xmlns:a16="http://schemas.microsoft.com/office/drawing/2014/main" id="{D83C4D9E-8026-928D-9BC9-AAD3B42A854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06369725"/>
              </p:ext>
            </p:extLst>
          </p:nvPr>
        </p:nvGraphicFramePr>
        <p:xfrm>
          <a:off x="1757074" y="692696"/>
          <a:ext cx="8677852" cy="53151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7" name="Worksheet" r:id="rId5" imgW="12566835" imgH="7696024" progId="Excel.Sheet.12">
                  <p:link updateAutomatic="1"/>
                </p:oleObj>
              </mc:Choice>
              <mc:Fallback>
                <p:oleObj name="Worksheet" r:id="rId5" imgW="12566835" imgH="7696024" progId="Excel.Sheet.12">
                  <p:link updateAutomatic="1"/>
                  <p:pic>
                    <p:nvPicPr>
                      <p:cNvPr id="3" name="Objeto 2">
                        <a:extLst>
                          <a:ext uri="{FF2B5EF4-FFF2-40B4-BE49-F238E27FC236}">
                            <a16:creationId xmlns:a16="http://schemas.microsoft.com/office/drawing/2014/main" id="{D83C4D9E-8026-928D-9BC9-AAD3B42A85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7074" y="692696"/>
                        <a:ext cx="8677852" cy="53151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2752254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" name="think-cell data - do not delete" hidden="1">
            <a:extLst>
              <a:ext uri="{FF2B5EF4-FFF2-40B4-BE49-F238E27FC236}">
                <a16:creationId xmlns:a16="http://schemas.microsoft.com/office/drawing/2014/main" id="{DACBE8DC-9932-596D-8047-74EBC29AC7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0" name="Slide do think-cell" r:id="rId68" imgW="395" imgH="396" progId="TCLayout.ActiveDocument.1">
                  <p:embed/>
                </p:oleObj>
              </mc:Choice>
              <mc:Fallback>
                <p:oleObj name="Slide do think-cell" r:id="rId68" imgW="395" imgH="396" progId="TCLayout.ActiveDocument.1">
                  <p:embed/>
                  <p:pic>
                    <p:nvPicPr>
                      <p:cNvPr id="1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CBE8DC-9932-596D-8047-74EBC29AC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70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71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ED3C80E2-8364-B7CB-6C2E-F17D5C63CD5D}"/>
              </a:ext>
            </a:extLst>
          </p:cNvPr>
          <p:cNvSpPr txBox="1"/>
          <p:nvPr/>
        </p:nvSpPr>
        <p:spPr>
          <a:xfrm>
            <a:off x="47328" y="97468"/>
            <a:ext cx="95770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800" b="1" dirty="0" err="1">
                <a:solidFill>
                  <a:srgbClr val="006A6B"/>
                </a:solidFill>
                <a:latin typeface="Trebuchet MS" panose="020B0603020202020204" pitchFamily="34" charset="0"/>
              </a:rPr>
              <a:t>Composição</a:t>
            </a:r>
            <a:r>
              <a:rPr lang="en-US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 do </a:t>
            </a:r>
            <a:r>
              <a:rPr lang="en-US" sz="2800" b="1" dirty="0" err="1">
                <a:solidFill>
                  <a:srgbClr val="006A6B"/>
                </a:solidFill>
                <a:latin typeface="Trebuchet MS" panose="020B0603020202020204" pitchFamily="34" charset="0"/>
              </a:rPr>
              <a:t>Resultado</a:t>
            </a:r>
            <a:r>
              <a:rPr lang="en-US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 | Repasses</a:t>
            </a:r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</p:txBody>
      </p:sp>
      <p:cxnSp>
        <p:nvCxnSpPr>
          <p:cNvPr id="3" name="Straight Connector 8">
            <a:extLst>
              <a:ext uri="{FF2B5EF4-FFF2-40B4-BE49-F238E27FC236}">
                <a16:creationId xmlns:a16="http://schemas.microsoft.com/office/drawing/2014/main" id="{916896A9-6812-4913-9498-17690C8492A1}"/>
              </a:ext>
            </a:extLst>
          </p:cNvPr>
          <p:cNvCxnSpPr>
            <a:cxnSpLocks/>
          </p:cNvCxnSpPr>
          <p:nvPr/>
        </p:nvCxnSpPr>
        <p:spPr>
          <a:xfrm>
            <a:off x="191344" y="1124744"/>
            <a:ext cx="30704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73">
            <a:extLst>
              <a:ext uri="{FF2B5EF4-FFF2-40B4-BE49-F238E27FC236}">
                <a16:creationId xmlns:a16="http://schemas.microsoft.com/office/drawing/2014/main" id="{2E880A3C-5C3D-6F2F-300F-8810ED8F7965}"/>
              </a:ext>
            </a:extLst>
          </p:cNvPr>
          <p:cNvCxnSpPr>
            <a:cxnSpLocks/>
          </p:cNvCxnSpPr>
          <p:nvPr/>
        </p:nvCxnSpPr>
        <p:spPr>
          <a:xfrm>
            <a:off x="3575720" y="1124744"/>
            <a:ext cx="83634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tângulo 4">
            <a:extLst>
              <a:ext uri="{FF2B5EF4-FFF2-40B4-BE49-F238E27FC236}">
                <a16:creationId xmlns:a16="http://schemas.microsoft.com/office/drawing/2014/main" id="{AE3D068F-8E5D-72BC-1114-2C6F7EEDB608}"/>
              </a:ext>
            </a:extLst>
          </p:cNvPr>
          <p:cNvSpPr/>
          <p:nvPr/>
        </p:nvSpPr>
        <p:spPr>
          <a:xfrm>
            <a:off x="227844" y="699083"/>
            <a:ext cx="3081934" cy="43704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317472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400" b="1" dirty="0">
                <a:solidFill>
                  <a:srgbClr val="00B0F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Repasses</a:t>
            </a:r>
            <a:r>
              <a:rPr lang="pt-BR" sz="14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, Não Operacional e </a:t>
            </a:r>
            <a:r>
              <a:rPr lang="pt-BR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Deduções</a:t>
            </a:r>
            <a:r>
              <a:rPr lang="pt-BR" sz="14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</a:t>
            </a:r>
            <a:r>
              <a:rPr lang="pt-BR" sz="1400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(R$MM)</a:t>
            </a:r>
          </a:p>
        </p:txBody>
      </p:sp>
      <p:sp>
        <p:nvSpPr>
          <p:cNvPr id="7" name="Retângulo 4">
            <a:extLst>
              <a:ext uri="{FF2B5EF4-FFF2-40B4-BE49-F238E27FC236}">
                <a16:creationId xmlns:a16="http://schemas.microsoft.com/office/drawing/2014/main" id="{C953DF26-FB7E-220F-F6F6-56ED4913880A}"/>
              </a:ext>
            </a:extLst>
          </p:cNvPr>
          <p:cNvSpPr/>
          <p:nvPr/>
        </p:nvSpPr>
        <p:spPr>
          <a:xfrm>
            <a:off x="3467708" y="710522"/>
            <a:ext cx="6767624" cy="26468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317472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4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Abertura Analítica</a:t>
            </a:r>
            <a:endParaRPr lang="pt-BR" sz="1400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8" name="Google Shape;524;gf74a7e76c7_1_1123">
            <a:extLst>
              <a:ext uri="{FF2B5EF4-FFF2-40B4-BE49-F238E27FC236}">
                <a16:creationId xmlns:a16="http://schemas.microsoft.com/office/drawing/2014/main" id="{7AD70524-B5D5-E7ED-F54B-097B34D9B244}"/>
              </a:ext>
            </a:extLst>
          </p:cNvPr>
          <p:cNvSpPr/>
          <p:nvPr/>
        </p:nvSpPr>
        <p:spPr>
          <a:xfrm>
            <a:off x="227348" y="1245071"/>
            <a:ext cx="1190625" cy="239713"/>
          </a:xfrm>
          <a:prstGeom prst="rect">
            <a:avLst/>
          </a:prstGeom>
          <a:noFill/>
          <a:ln>
            <a:solidFill>
              <a:srgbClr val="004F92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000" b="1" i="0" u="none" strike="noStrike" kern="0" cap="none" spc="0" normalizeH="0" baseline="0" noProof="0" dirty="0">
                <a:ln>
                  <a:noFill/>
                </a:ln>
                <a:solidFill>
                  <a:srgbClr val="004F92"/>
                </a:solidFill>
                <a:effectLst/>
                <a:uLnTx/>
                <a:uFillTx/>
                <a:latin typeface="Segoe UI" panose="020B0502040204020203" pitchFamily="34" charset="0"/>
                <a:ea typeface="Lucida Sans"/>
                <a:cs typeface="Segoe UI" panose="020B0502040204020203" pitchFamily="34" charset="0"/>
                <a:sym typeface="Lucida Sans"/>
              </a:rPr>
              <a:t>Mês</a:t>
            </a:r>
            <a:endParaRPr kumimoji="0" sz="1000" b="1" i="0" u="none" strike="noStrike" kern="0" cap="none" spc="0" normalizeH="0" baseline="0" noProof="0" dirty="0">
              <a:ln>
                <a:noFill/>
              </a:ln>
              <a:solidFill>
                <a:srgbClr val="004F92"/>
              </a:solidFill>
              <a:effectLst/>
              <a:uLnTx/>
              <a:uFillTx/>
              <a:latin typeface="Segoe UI" panose="020B0502040204020203" pitchFamily="34" charset="0"/>
              <a:ea typeface="Lucida Sans"/>
              <a:cs typeface="Segoe UI" panose="020B0502040204020203" pitchFamily="34" charset="0"/>
              <a:sym typeface="Lucida Sans"/>
            </a:endParaRPr>
          </a:p>
        </p:txBody>
      </p:sp>
      <p:graphicFrame>
        <p:nvGraphicFramePr>
          <p:cNvPr id="31" name="Chart 3">
            <a:extLst>
              <a:ext uri="{FF2B5EF4-FFF2-40B4-BE49-F238E27FC236}">
                <a16:creationId xmlns:a16="http://schemas.microsoft.com/office/drawing/2014/main" id="{F8B17516-5E27-83BA-5D8D-22EB56D564C0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30238" y="1916113"/>
          <a:ext cx="2138362" cy="1511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2"/>
          </a:graphicData>
        </a:graphic>
      </p:graphicFrame>
      <p:cxnSp>
        <p:nvCxnSpPr>
          <p:cNvPr id="10" name="Conector reto 9">
            <a:extLst>
              <a:ext uri="{FF2B5EF4-FFF2-40B4-BE49-F238E27FC236}">
                <a16:creationId xmlns:a16="http://schemas.microsoft.com/office/drawing/2014/main" id="{01561B9D-F659-DBDD-6B33-694267E508CC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 flipV="1">
            <a:off x="1041400" y="1743075"/>
            <a:ext cx="0" cy="26035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Conector reto 10">
            <a:extLst>
              <a:ext uri="{FF2B5EF4-FFF2-40B4-BE49-F238E27FC236}">
                <a16:creationId xmlns:a16="http://schemas.microsoft.com/office/drawing/2014/main" id="{EECF9210-2669-E501-2832-4EB5B5AC5578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1041400" y="1743075"/>
            <a:ext cx="657225" cy="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692B668B-D230-AE85-AC2D-4A2F6B9D3B01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V="1">
            <a:off x="2357438" y="1743075"/>
            <a:ext cx="0" cy="212725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8AD5B1F4-C3AB-C525-F6D2-401D8C9E5D5C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 flipH="1">
            <a:off x="1698625" y="1743075"/>
            <a:ext cx="658813" cy="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ector reto 13">
            <a:extLst>
              <a:ext uri="{FF2B5EF4-FFF2-40B4-BE49-F238E27FC236}">
                <a16:creationId xmlns:a16="http://schemas.microsoft.com/office/drawing/2014/main" id="{078BF935-65F7-17C7-5020-51353A906243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1698625" y="1743075"/>
            <a:ext cx="0" cy="211138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FA82250D-44AE-5113-F2D7-6B6917483088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 flipV="1">
            <a:off x="741363" y="3159125"/>
            <a:ext cx="95250" cy="1460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Retângulo 15">
            <a:extLst>
              <a:ext uri="{FF2B5EF4-FFF2-40B4-BE49-F238E27FC236}">
                <a16:creationId xmlns:a16="http://schemas.microsoft.com/office/drawing/2014/main" id="{D44F4658-7BFB-4E09-735F-3EB2FA04E0F7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898524" y="3076575"/>
            <a:ext cx="285750" cy="165100"/>
          </a:xfrm>
          <a:prstGeom prst="rect">
            <a:avLst/>
          </a:prstGeom>
          <a:solidFill>
            <a:srgbClr val="00386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CF5184FC-EB86-4AAB-9E4C-3D931C52A642}" type="datetime'''''''''''''''''''''''-''''''''0'''''''',''1'''''''''''''">
              <a:rPr lang="pt-BR" altLang="en-US" sz="1200" b="1" smtClean="0">
                <a:solidFill>
                  <a:schemeClr val="bg1"/>
                </a:solidFill>
              </a:rPr>
              <a:pPr/>
              <a:t>-0,1</a:t>
            </a:fld>
            <a:endParaRPr lang="pt-BR" sz="1200" b="1" dirty="0">
              <a:solidFill>
                <a:schemeClr val="bg1"/>
              </a:solidFill>
            </a:endParaRP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4FACDF3A-AD33-702C-0759-0CDB745B6EB5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1579564" y="3073400"/>
            <a:ext cx="239713" cy="165100"/>
          </a:xfrm>
          <a:prstGeom prst="rect">
            <a:avLst/>
          </a:prstGeom>
          <a:solidFill>
            <a:srgbClr val="00386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B06923BA-90FB-43C2-A716-1EF2E7FDB118}" type="datetime'''0'''''''''''''',''''''1'''''''''''''''''''">
              <a:rPr lang="pt-BR" altLang="en-US" sz="1200" b="1" smtClean="0">
                <a:solidFill>
                  <a:schemeClr val="bg1"/>
                </a:solidFill>
              </a:rPr>
              <a:pPr/>
              <a:t>0,1</a:t>
            </a:fld>
            <a:endParaRPr lang="pt-BR" sz="1200" b="1">
              <a:solidFill>
                <a:schemeClr val="bg1"/>
              </a:solidFill>
            </a:endParaRP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B7F10520-0B5B-AE64-C8DB-EF389B59B3FB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2238375" y="3074988"/>
            <a:ext cx="239713" cy="165100"/>
          </a:xfrm>
          <a:prstGeom prst="rect">
            <a:avLst/>
          </a:prstGeom>
          <a:solidFill>
            <a:srgbClr val="00386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1109B950-A9BD-4A27-A342-5B7A4508FF09}" type="datetime'''''''''''0'''''''''''''',''''''''''''''''''0'''''''''''''''''">
              <a:rPr lang="pt-BR" altLang="en-US" sz="1200" b="1" smtClean="0">
                <a:solidFill>
                  <a:schemeClr val="bg1"/>
                </a:solidFill>
              </a:rPr>
              <a:pPr/>
              <a:t>0,0</a:t>
            </a:fld>
            <a:endParaRPr lang="pt-BR" sz="1200" b="1" dirty="0">
              <a:solidFill>
                <a:schemeClr val="bg1"/>
              </a:solidFill>
            </a:endParaRP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2C666B73-95D8-0378-EC59-4D591DB79432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328613" y="2633663"/>
            <a:ext cx="38735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4F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/>
          <a:p>
            <a:pPr algn="r" fontAlgn="auto">
              <a:buClr>
                <a:srgbClr val="000000"/>
              </a:buClr>
            </a:pPr>
            <a:fld id="{E3E7E6B7-0985-4A05-BE64-BAFB76CCA096}" type="datetime'''''''Repa''''''''''s''''''''''''se''s'''''">
              <a:rPr lang="pt-BR" altLang="en-US" sz="800" b="1" smtClean="0">
                <a:solidFill>
                  <a:srgbClr val="2275FF"/>
                </a:solidFill>
              </a:rPr>
              <a:pPr/>
              <a:t>Repasses</a:t>
            </a:fld>
            <a:endParaRPr lang="pt-BR" sz="800" b="1" kern="0" dirty="0">
              <a:solidFill>
                <a:srgbClr val="2275FF"/>
              </a:solidFill>
            </a:endParaRP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5FBA7D60-B325-6292-06E5-8D3F3E97B51C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203200" y="3182938"/>
            <a:ext cx="512763" cy="2444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4F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/>
          <a:p>
            <a:pPr algn="r" fontAlgn="auto">
              <a:buClr>
                <a:srgbClr val="000000"/>
              </a:buClr>
            </a:pPr>
            <a:fld id="{D4B22C34-C135-4CD1-8CFB-834F5601AE26}" type="datetime'''N''''ã''o'' &#10;''O''''pe''''''''r''a''''''''''c''''ional'''">
              <a:rPr lang="pt-BR" altLang="en-US" sz="800" b="1" smtClean="0">
                <a:solidFill>
                  <a:srgbClr val="364D6E"/>
                </a:solidFill>
              </a:rPr>
              <a:pPr/>
              <a:t>Não 
Operacional</a:t>
            </a:fld>
            <a:endParaRPr lang="pt-BR" sz="800" b="1" kern="0" dirty="0">
              <a:solidFill>
                <a:srgbClr val="364D6E"/>
              </a:solidFill>
            </a:endParaRP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770FB874-37AB-1DBA-867C-F94E02FE8EA5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882650" y="2041525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</a:pPr>
            <a:fld id="{D784E027-1CFF-46A7-BC66-4B5A73F40455}" type="datetime'''''''''''''''''''''26'''''''''''''''''',9''''''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6,9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F5F3201A-1B44-6686-9FBE-F86F76520B22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1539875" y="1992313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</a:pPr>
            <a:fld id="{45911E40-9624-4EC2-9E75-A631F19849E1}" type="datetime'''''''''''''2''8'''''''''',''''''''''''''''''4''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8,4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89DC4F3B-9408-D279-8549-531EBA32AC5B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2198688" y="1993900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</a:pPr>
            <a:fld id="{A265DA74-F537-4070-85B1-C297215E3402}" type="datetime'''28'''''''''''''''''''''',''''''''''''''''''''''''''''''3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8,3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id="{ABA9950F-4A31-3E59-7728-BA4C5C4FFA90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146175" y="1570038"/>
            <a:ext cx="449263" cy="34607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fld id="{D1406435-E3A8-486F-9D3F-43751E6124DF}" type="datetime'''''''''''''''''''''''''+''1,''''''''''''''''''5''''''''''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1,5</a:t>
            </a:fld>
            <a:br>
              <a:rPr lang="pt-BR" altLang="en-US" sz="800" b="1">
                <a:solidFill>
                  <a:srgbClr val="3D3D3D"/>
                </a:solidFill>
              </a:rPr>
            </a:br>
            <a:r>
              <a:rPr lang="pt-BR" altLang="en-US" sz="800" b="1">
                <a:solidFill>
                  <a:srgbClr val="3D3D3D"/>
                </a:solidFill>
              </a:rPr>
              <a:t>(</a:t>
            </a:r>
            <a:fld id="{43126BA6-F4F1-4DC0-8CA0-FFE62CE6F173}" type="datetime'''+''''5'''''''''',''''''''''''''4''''''%''''''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5,4%</a:t>
            </a:fld>
            <a:r>
              <a:rPr lang="pt-BR" altLang="en-US" sz="800" b="1">
                <a:solidFill>
                  <a:srgbClr val="3D3D3D"/>
                </a:solidFill>
              </a:rPr>
              <a:t>)</a:t>
            </a:r>
            <a:endParaRPr lang="pt-BR" sz="800" b="1" dirty="0">
              <a:solidFill>
                <a:srgbClr val="3D3D3D"/>
              </a:solidFill>
            </a:endParaRPr>
          </a:p>
        </p:txBody>
      </p:sp>
      <p:sp>
        <p:nvSpPr>
          <p:cNvPr id="25" name="Elipse 24">
            <a:extLst>
              <a:ext uri="{FF2B5EF4-FFF2-40B4-BE49-F238E27FC236}">
                <a16:creationId xmlns:a16="http://schemas.microsoft.com/office/drawing/2014/main" id="{2A0CA7B0-733F-6645-3A03-93E1032B4007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803400" y="1570038"/>
            <a:ext cx="449263" cy="34607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fld id="{753A3FD3-B6FB-4005-B9FA-AD277AD92A7D}" type="datetime'''''''+''''''''''''''''''''0'''',''''''''''1''''''''''''''''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0,1</a:t>
            </a:fld>
            <a:br>
              <a:rPr lang="pt-BR" altLang="en-US" sz="800" b="1">
                <a:solidFill>
                  <a:srgbClr val="3D3D3D"/>
                </a:solidFill>
              </a:rPr>
            </a:br>
            <a:r>
              <a:rPr lang="pt-BR" altLang="en-US" sz="800" b="1">
                <a:solidFill>
                  <a:srgbClr val="3D3D3D"/>
                </a:solidFill>
              </a:rPr>
              <a:t>(</a:t>
            </a:r>
            <a:fld id="{ED9C32D5-C3D6-4D56-A753-758EC3B4B19C}" type="datetime'+''0'',''''''''''''''''''2''''''''''''%''''''''''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0,2%</a:t>
            </a:fld>
            <a:r>
              <a:rPr lang="pt-BR" altLang="en-US" sz="800" b="1">
                <a:solidFill>
                  <a:srgbClr val="3D3D3D"/>
                </a:solidFill>
              </a:rPr>
              <a:t>)</a:t>
            </a:r>
            <a:endParaRPr lang="pt-BR" sz="800" b="1" dirty="0">
              <a:solidFill>
                <a:srgbClr val="3D3D3D"/>
              </a:solidFill>
            </a:endParaRPr>
          </a:p>
        </p:txBody>
      </p:sp>
      <p:graphicFrame>
        <p:nvGraphicFramePr>
          <p:cNvPr id="60" name="Chart 3">
            <a:extLst>
              <a:ext uri="{FF2B5EF4-FFF2-40B4-BE49-F238E27FC236}">
                <a16:creationId xmlns:a16="http://schemas.microsoft.com/office/drawing/2014/main" id="{91C734B7-83DF-7BA0-7A6E-768E2BD38D80}"/>
              </a:ext>
            </a:extLst>
          </p:cNvPr>
          <p:cNvGraphicFramePr/>
          <p:nvPr>
            <p:custDataLst>
              <p:tags r:id="rId20"/>
            </p:custDataLst>
          </p:nvPr>
        </p:nvGraphicFramePr>
        <p:xfrm>
          <a:off x="655638" y="3227388"/>
          <a:ext cx="2112962" cy="274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3"/>
          </a:graphicData>
        </a:graphic>
      </p:graphicFrame>
      <p:sp>
        <p:nvSpPr>
          <p:cNvPr id="27" name="Retângulo 26">
            <a:extLst>
              <a:ext uri="{FF2B5EF4-FFF2-40B4-BE49-F238E27FC236}">
                <a16:creationId xmlns:a16="http://schemas.microsoft.com/office/drawing/2014/main" id="{0EB9F5B9-C0EE-BBEB-ADC5-147DD4C77E48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900113" y="34702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/>
            <a:fld id="{0696E90A-C092-4391-A3A9-4880EAEAB0AF}" type="datetime'''''''2''''0''''2''''4''''''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024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id="{29BD8F99-6CDD-C292-05E4-8B9DF0BEE2A3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549400" y="34702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/>
            <a:fld id="{9CF0D973-8413-40DD-A60F-3C5C43093792}" type="datetime'''''''''''2''''''0''''''''''''2''''''''5''''''''''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025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id="{314D9AFB-F9E5-EBF9-5394-7E71D6EA034A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2174875" y="3470275"/>
            <a:ext cx="371475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/>
            <a:fld id="{1A79E1A4-81E2-449D-BF6C-3D7109485AD7}" type="datetime'''''P''''''''''''''''l''a''''''n''o''''''''''''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Plano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30" name="Retângulo 29">
            <a:extLst>
              <a:ext uri="{FF2B5EF4-FFF2-40B4-BE49-F238E27FC236}">
                <a16:creationId xmlns:a16="http://schemas.microsoft.com/office/drawing/2014/main" id="{0C84F66A-CEDD-895C-B8FE-01DB3CA7E017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2684463" y="3241675"/>
            <a:ext cx="5143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fld id="{FCE3B53D-5DA3-4164-9BEA-DAE24394A2EA}" type="datetime'''''''''''''''D''e''d''''''''''''''u''çõe''''''''''s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Deduções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graphicFrame>
        <p:nvGraphicFramePr>
          <p:cNvPr id="64" name="Chart 3">
            <a:extLst>
              <a:ext uri="{FF2B5EF4-FFF2-40B4-BE49-F238E27FC236}">
                <a16:creationId xmlns:a16="http://schemas.microsoft.com/office/drawing/2014/main" id="{2249E7B7-A600-F49A-9CC7-EFDA28C79952}"/>
              </a:ext>
            </a:extLst>
          </p:cNvPr>
          <p:cNvGraphicFramePr/>
          <p:nvPr>
            <p:custDataLst>
              <p:tags r:id="rId25"/>
            </p:custDataLst>
          </p:nvPr>
        </p:nvGraphicFramePr>
        <p:xfrm>
          <a:off x="465138" y="4530725"/>
          <a:ext cx="2492375" cy="1530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4"/>
          </a:graphicData>
        </a:graphic>
      </p:graphicFrame>
      <p:cxnSp>
        <p:nvCxnSpPr>
          <p:cNvPr id="32" name="Conector reto 31">
            <a:extLst>
              <a:ext uri="{FF2B5EF4-FFF2-40B4-BE49-F238E27FC236}">
                <a16:creationId xmlns:a16="http://schemas.microsoft.com/office/drawing/2014/main" id="{A5F8BB2A-1052-50B8-94C3-E840A969D7D6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 flipV="1">
            <a:off x="1062038" y="4357688"/>
            <a:ext cx="0" cy="26035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Conector reto 32">
            <a:extLst>
              <a:ext uri="{FF2B5EF4-FFF2-40B4-BE49-F238E27FC236}">
                <a16:creationId xmlns:a16="http://schemas.microsoft.com/office/drawing/2014/main" id="{AD160804-1C99-3FDC-787A-E2F0630E6289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1062038" y="4357688"/>
            <a:ext cx="649288" cy="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Conector reto 33">
            <a:extLst>
              <a:ext uri="{FF2B5EF4-FFF2-40B4-BE49-F238E27FC236}">
                <a16:creationId xmlns:a16="http://schemas.microsoft.com/office/drawing/2014/main" id="{5BF9DD87-DE54-766D-A7B7-F05CDCD2CCF8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 flipV="1">
            <a:off x="2360613" y="4357688"/>
            <a:ext cx="0" cy="212725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Conector reto 34">
            <a:extLst>
              <a:ext uri="{FF2B5EF4-FFF2-40B4-BE49-F238E27FC236}">
                <a16:creationId xmlns:a16="http://schemas.microsoft.com/office/drawing/2014/main" id="{AD1E8E7C-2520-E533-B43D-60EF19EAF709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 flipH="1">
            <a:off x="1711325" y="4357688"/>
            <a:ext cx="649288" cy="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id="{B4FAB00C-0412-7EF5-48D1-AA1A5BE96B67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1711325" y="4357688"/>
            <a:ext cx="0" cy="211138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Conector reto 36">
            <a:extLst>
              <a:ext uri="{FF2B5EF4-FFF2-40B4-BE49-F238E27FC236}">
                <a16:creationId xmlns:a16="http://schemas.microsoft.com/office/drawing/2014/main" id="{44E610E7-917A-99D7-FBFA-7497887DE653}"/>
              </a:ext>
            </a:extLst>
          </p:cNvPr>
          <p:cNvCxnSpPr>
            <a:cxnSpLocks/>
          </p:cNvCxnSpPr>
          <p:nvPr>
            <p:custDataLst>
              <p:tags r:id="rId31"/>
            </p:custDataLst>
          </p:nvPr>
        </p:nvCxnSpPr>
        <p:spPr bwMode="auto">
          <a:xfrm>
            <a:off x="763588" y="5645150"/>
            <a:ext cx="95250" cy="1476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Retângulo 37">
            <a:extLst>
              <a:ext uri="{FF2B5EF4-FFF2-40B4-BE49-F238E27FC236}">
                <a16:creationId xmlns:a16="http://schemas.microsoft.com/office/drawing/2014/main" id="{7AF2ADA2-08BE-C311-BFFC-A15076EC58B3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919162" y="5710238"/>
            <a:ext cx="285750" cy="165100"/>
          </a:xfrm>
          <a:prstGeom prst="rect">
            <a:avLst/>
          </a:prstGeom>
          <a:solidFill>
            <a:srgbClr val="00386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0348C6D0-09F1-42DA-8AD1-8109DFDD77BC}" type="datetime'''''''''''''''-0'''''''''''''',4'''''''''">
              <a:rPr lang="pt-BR" altLang="en-US" sz="1200" b="1" smtClean="0">
                <a:solidFill>
                  <a:schemeClr val="bg1"/>
                </a:solidFill>
              </a:rPr>
              <a:pPr/>
              <a:t>-0,4</a:t>
            </a:fld>
            <a:endParaRPr lang="pt-BR" sz="1200" b="1" dirty="0">
              <a:solidFill>
                <a:schemeClr val="bg1"/>
              </a:solidFill>
            </a:endParaRPr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id="{AADE6417-C3F7-839B-1BE8-28917114AD67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1592264" y="5708650"/>
            <a:ext cx="239713" cy="165100"/>
          </a:xfrm>
          <a:prstGeom prst="rect">
            <a:avLst/>
          </a:prstGeom>
          <a:solidFill>
            <a:srgbClr val="00386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8E0B68D3-11DE-4ECF-A735-857FAF7C78F8}" type="datetime'''''''''''''''''''''''0'',''''''''''''5'''''''''''''''''">
              <a:rPr lang="pt-BR" altLang="en-US" sz="1200" b="1" smtClean="0">
                <a:solidFill>
                  <a:schemeClr val="bg1"/>
                </a:solidFill>
              </a:rPr>
              <a:pPr/>
              <a:t>0,5</a:t>
            </a:fld>
            <a:endParaRPr lang="pt-BR" sz="1200" b="1">
              <a:solidFill>
                <a:schemeClr val="bg1"/>
              </a:solidFill>
            </a:endParaRPr>
          </a:p>
        </p:txBody>
      </p:sp>
      <p:sp>
        <p:nvSpPr>
          <p:cNvPr id="40" name="Retângulo 39">
            <a:extLst>
              <a:ext uri="{FF2B5EF4-FFF2-40B4-BE49-F238E27FC236}">
                <a16:creationId xmlns:a16="http://schemas.microsoft.com/office/drawing/2014/main" id="{D53DAD04-0FE5-07C3-D35B-C6C3E1F78257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2241550" y="5710238"/>
            <a:ext cx="239713" cy="165100"/>
          </a:xfrm>
          <a:prstGeom prst="rect">
            <a:avLst/>
          </a:prstGeom>
          <a:solidFill>
            <a:srgbClr val="00386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9005BAD8-30D5-4C16-853B-6109C50869A4}" type="datetime'''''''''''''''''''0'',0'''''''''''''''''''''">
              <a:rPr lang="pt-BR" altLang="en-US" sz="1200" b="1" smtClean="0">
                <a:solidFill>
                  <a:schemeClr val="bg1"/>
                </a:solidFill>
              </a:rPr>
              <a:pPr/>
              <a:t>0,0</a:t>
            </a:fld>
            <a:endParaRPr lang="pt-BR" sz="1200" b="1" dirty="0">
              <a:solidFill>
                <a:schemeClr val="bg1"/>
              </a:solidFill>
            </a:endParaRPr>
          </a:p>
        </p:txBody>
      </p:sp>
      <p:sp>
        <p:nvSpPr>
          <p:cNvPr id="41" name="Retângulo 40">
            <a:extLst>
              <a:ext uri="{FF2B5EF4-FFF2-40B4-BE49-F238E27FC236}">
                <a16:creationId xmlns:a16="http://schemas.microsoft.com/office/drawing/2014/main" id="{2A879A30-4EE3-4C59-8AB8-9DD434BA9FBD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350838" y="5259388"/>
            <a:ext cx="38735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4F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/>
          <a:p>
            <a:pPr algn="r" fontAlgn="auto">
              <a:buClr>
                <a:srgbClr val="000000"/>
              </a:buClr>
            </a:pPr>
            <a:fld id="{3CBEA95B-4677-4B46-BD16-D4CB10638A52}" type="datetime'''Re''''p''as''''s''''''''''e''''s'''''''''''''''''''''">
              <a:rPr lang="pt-BR" altLang="en-US" sz="800" b="1" smtClean="0">
                <a:solidFill>
                  <a:srgbClr val="2275FF"/>
                </a:solidFill>
              </a:rPr>
              <a:pPr/>
              <a:t>Repasses</a:t>
            </a:fld>
            <a:endParaRPr lang="pt-BR" sz="800" b="1" kern="0" dirty="0">
              <a:solidFill>
                <a:srgbClr val="2275FF"/>
              </a:solidFill>
            </a:endParaRP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F08C4126-04F8-151E-165E-359E0414A13D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225425" y="5522913"/>
            <a:ext cx="512763" cy="2444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4F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/>
          <a:p>
            <a:pPr algn="r" fontAlgn="auto">
              <a:buClr>
                <a:srgbClr val="000000"/>
              </a:buClr>
            </a:pPr>
            <a:fld id="{0F9101B8-B297-4920-BB64-8D5AAC3708B9}" type="datetime'N''''''ã''''''o'' ''&#10;''''''''''Op''''''''''eracio''''''n''al'">
              <a:rPr lang="pt-BR" altLang="en-US" sz="800" b="1" smtClean="0">
                <a:solidFill>
                  <a:srgbClr val="364D6E"/>
                </a:solidFill>
              </a:rPr>
              <a:pPr/>
              <a:t>Não 
Operacional</a:t>
            </a:fld>
            <a:endParaRPr lang="pt-BR" sz="800" b="1" kern="0" dirty="0">
              <a:solidFill>
                <a:srgbClr val="364D6E"/>
              </a:solidFill>
            </a:endParaRPr>
          </a:p>
        </p:txBody>
      </p:sp>
      <p:sp>
        <p:nvSpPr>
          <p:cNvPr id="43" name="Retângulo 42">
            <a:extLst>
              <a:ext uri="{FF2B5EF4-FFF2-40B4-BE49-F238E27FC236}">
                <a16:creationId xmlns:a16="http://schemas.microsoft.com/office/drawing/2014/main" id="{B7860517-6F42-286F-DB03-CB4B106072F1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865188" y="4656138"/>
            <a:ext cx="39528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</a:pPr>
            <a:fld id="{4F864728-DF8D-4C8F-A891-3C2D30C29D15}" type="datetime'''''''''''''21''5'''',''''''6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15,6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44" name="Retângulo 43">
            <a:extLst>
              <a:ext uri="{FF2B5EF4-FFF2-40B4-BE49-F238E27FC236}">
                <a16:creationId xmlns:a16="http://schemas.microsoft.com/office/drawing/2014/main" id="{E6631A34-E3DE-E0D6-EFDA-46EB8A5433D1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1514475" y="4606925"/>
            <a:ext cx="39528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</a:pPr>
            <a:fld id="{E3BFB597-073B-421C-AC75-F777EB83BDFF}" type="datetime'''2''''''''27'''''''''''''',''''''''''''''''''''3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27,3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id="{E3673349-D046-7A80-6C3B-534E5903252A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2163763" y="4608513"/>
            <a:ext cx="39528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</a:pPr>
            <a:fld id="{0DCB4126-CD28-485A-A113-280151988682}" type="datetime'''2''''2''''''''''''''''''''''''''''6'''''''''''''',''8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26,8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46" name="Elipse 45">
            <a:extLst>
              <a:ext uri="{FF2B5EF4-FFF2-40B4-BE49-F238E27FC236}">
                <a16:creationId xmlns:a16="http://schemas.microsoft.com/office/drawing/2014/main" id="{A6E48C57-A10C-75C4-484A-A6ED35698ECA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1162050" y="4184650"/>
            <a:ext cx="449263" cy="34607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fld id="{C48FD6A7-BFCF-4989-BBA1-C3343D7A869D}" type="datetime'+1''''1'''''''',''''''''''''''''7''''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11,7</a:t>
            </a:fld>
            <a:br>
              <a:rPr lang="pt-BR" altLang="en-US" sz="800" b="1">
                <a:solidFill>
                  <a:srgbClr val="3D3D3D"/>
                </a:solidFill>
              </a:rPr>
            </a:br>
            <a:r>
              <a:rPr lang="pt-BR" altLang="en-US" sz="800" b="1">
                <a:solidFill>
                  <a:srgbClr val="3D3D3D"/>
                </a:solidFill>
              </a:rPr>
              <a:t>(</a:t>
            </a:r>
            <a:fld id="{0C8197E0-D17C-4B84-8423-7BE903F14C4C}" type="datetime'''''''''''''''''''''''''''''''''''''''+5'''''''',''''''''4%''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5,4%</a:t>
            </a:fld>
            <a:r>
              <a:rPr lang="pt-BR" altLang="en-US" sz="800" b="1">
                <a:solidFill>
                  <a:srgbClr val="3D3D3D"/>
                </a:solidFill>
              </a:rPr>
              <a:t>)</a:t>
            </a:r>
            <a:endParaRPr lang="pt-BR" sz="800" b="1" dirty="0">
              <a:solidFill>
                <a:srgbClr val="3D3D3D"/>
              </a:solidFill>
            </a:endParaRPr>
          </a:p>
        </p:txBody>
      </p:sp>
      <p:sp>
        <p:nvSpPr>
          <p:cNvPr id="47" name="Elipse 46">
            <a:extLst>
              <a:ext uri="{FF2B5EF4-FFF2-40B4-BE49-F238E27FC236}">
                <a16:creationId xmlns:a16="http://schemas.microsoft.com/office/drawing/2014/main" id="{40F984AA-A709-E058-5F53-5454CB24DC91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1811338" y="4184650"/>
            <a:ext cx="449263" cy="34607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fld id="{28B2931F-EA65-459D-BEE4-98386F9C1FC2}" type="datetime'''''''+''''''''0'''''''''''',''''''''''''''''''5''''''''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0,5</a:t>
            </a:fld>
            <a:br>
              <a:rPr lang="pt-BR" altLang="en-US" sz="800" b="1">
                <a:solidFill>
                  <a:srgbClr val="3D3D3D"/>
                </a:solidFill>
              </a:rPr>
            </a:br>
            <a:r>
              <a:rPr lang="pt-BR" altLang="en-US" sz="800" b="1">
                <a:solidFill>
                  <a:srgbClr val="3D3D3D"/>
                </a:solidFill>
              </a:rPr>
              <a:t>(</a:t>
            </a:r>
            <a:fld id="{3B674620-5B23-4E1F-9E24-34DFF69E7917}" type="datetime'+''''''0,''''2''''''''''''''%''''''''''''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0,2%</a:t>
            </a:fld>
            <a:r>
              <a:rPr lang="pt-BR" altLang="en-US" sz="800" b="1">
                <a:solidFill>
                  <a:srgbClr val="3D3D3D"/>
                </a:solidFill>
              </a:rPr>
              <a:t>)</a:t>
            </a:r>
            <a:endParaRPr lang="pt-BR" sz="800" b="1" dirty="0">
              <a:solidFill>
                <a:srgbClr val="3D3D3D"/>
              </a:solidFill>
            </a:endParaRPr>
          </a:p>
        </p:txBody>
      </p:sp>
      <p:graphicFrame>
        <p:nvGraphicFramePr>
          <p:cNvPr id="67" name="Chart 3">
            <a:extLst>
              <a:ext uri="{FF2B5EF4-FFF2-40B4-BE49-F238E27FC236}">
                <a16:creationId xmlns:a16="http://schemas.microsoft.com/office/drawing/2014/main" id="{F15A895E-5F25-EEB2-0D41-C435F8E461F2}"/>
              </a:ext>
            </a:extLst>
          </p:cNvPr>
          <p:cNvGraphicFramePr/>
          <p:nvPr>
            <p:custDataLst>
              <p:tags r:id="rId42"/>
            </p:custDataLst>
          </p:nvPr>
        </p:nvGraphicFramePr>
        <p:xfrm>
          <a:off x="681038" y="5651500"/>
          <a:ext cx="2087562" cy="54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5"/>
          </a:graphicData>
        </a:graphic>
      </p:graphicFrame>
      <p:sp>
        <p:nvSpPr>
          <p:cNvPr id="49" name="Retângulo 48">
            <a:extLst>
              <a:ext uri="{FF2B5EF4-FFF2-40B4-BE49-F238E27FC236}">
                <a16:creationId xmlns:a16="http://schemas.microsoft.com/office/drawing/2014/main" id="{C6F7193E-9DCE-8036-C4FF-1D8B9E7A9D91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920750" y="6161088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/>
            <a:fld id="{BE4BEC8D-35A1-4DAA-A27C-E8EBC1786C3C}" type="datetime'''''2''''''0''''''''''''''''''''''''''''24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024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50" name="Retângulo 49">
            <a:extLst>
              <a:ext uri="{FF2B5EF4-FFF2-40B4-BE49-F238E27FC236}">
                <a16:creationId xmlns:a16="http://schemas.microsoft.com/office/drawing/2014/main" id="{C67A9DC2-EC78-D986-30CB-2FB2B6FD235B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1562100" y="6161088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/>
            <a:fld id="{88963C61-55E8-4663-ACAC-AB0D774BFA04}" type="datetime'''''''''''''''''''''''''''''2''''''02''''''5''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025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51" name="Retângulo 50">
            <a:extLst>
              <a:ext uri="{FF2B5EF4-FFF2-40B4-BE49-F238E27FC236}">
                <a16:creationId xmlns:a16="http://schemas.microsoft.com/office/drawing/2014/main" id="{A89A01DA-8B11-3A8F-9B9D-BE275FE74ECD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2178050" y="6161088"/>
            <a:ext cx="371475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/>
            <a:fld id="{A4C0EBE5-06CA-4B66-A30A-A65697603026}" type="datetime'''''''''P''''''''''''l''''''a''''''''''''''''''n''''''''o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Plano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52" name="Retângulo 51">
            <a:extLst>
              <a:ext uri="{FF2B5EF4-FFF2-40B4-BE49-F238E27FC236}">
                <a16:creationId xmlns:a16="http://schemas.microsoft.com/office/drawing/2014/main" id="{EE734BBB-246D-5902-9434-4CD39D9839F1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2686050" y="5932488"/>
            <a:ext cx="51435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fld id="{301A1703-6A40-4DA7-80A9-4A9B597543A7}" type="datetime'De''''''''''''''d''''''''u''''''''''''''''''ç''õe''''s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Deduções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53" name="Google Shape;524;gf74a7e76c7_1_1123">
            <a:extLst>
              <a:ext uri="{FF2B5EF4-FFF2-40B4-BE49-F238E27FC236}">
                <a16:creationId xmlns:a16="http://schemas.microsoft.com/office/drawing/2014/main" id="{A50EA010-03FA-6BC2-798B-F44DC30867B9}"/>
              </a:ext>
            </a:extLst>
          </p:cNvPr>
          <p:cNvSpPr/>
          <p:nvPr/>
        </p:nvSpPr>
        <p:spPr>
          <a:xfrm>
            <a:off x="227844" y="3873363"/>
            <a:ext cx="1190625" cy="239713"/>
          </a:xfrm>
          <a:prstGeom prst="rect">
            <a:avLst/>
          </a:prstGeom>
          <a:noFill/>
          <a:ln>
            <a:solidFill>
              <a:srgbClr val="004F92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sz="1000" b="1" kern="0" dirty="0">
                <a:solidFill>
                  <a:srgbClr val="004F92"/>
                </a:solidFill>
                <a:latin typeface="Segoe UI" panose="020B0502040204020203" pitchFamily="34" charset="0"/>
                <a:ea typeface="Lucida Sans"/>
                <a:cs typeface="Segoe UI" panose="020B0502040204020203" pitchFamily="34" charset="0"/>
                <a:sym typeface="Lucida Sans"/>
              </a:rPr>
              <a:t>Acumulado</a:t>
            </a:r>
            <a:endParaRPr kumimoji="0" sz="1000" b="1" i="0" u="none" strike="noStrike" kern="0" cap="none" spc="0" normalizeH="0" baseline="0" noProof="0" dirty="0">
              <a:ln>
                <a:noFill/>
              </a:ln>
              <a:solidFill>
                <a:srgbClr val="004F92"/>
              </a:solidFill>
              <a:effectLst/>
              <a:uLnTx/>
              <a:uFillTx/>
              <a:latin typeface="Segoe UI" panose="020B0502040204020203" pitchFamily="34" charset="0"/>
              <a:ea typeface="Lucida Sans"/>
              <a:cs typeface="Segoe UI" panose="020B0502040204020203" pitchFamily="34" charset="0"/>
              <a:sym typeface="Lucida Sans"/>
            </a:endParaRPr>
          </a:p>
        </p:txBody>
      </p:sp>
      <p:grpSp>
        <p:nvGrpSpPr>
          <p:cNvPr id="54" name="Graphic 33">
            <a:extLst>
              <a:ext uri="{FF2B5EF4-FFF2-40B4-BE49-F238E27FC236}">
                <a16:creationId xmlns:a16="http://schemas.microsoft.com/office/drawing/2014/main" id="{D9188FF6-244B-D292-CBFA-34FE3800AD52}"/>
              </a:ext>
            </a:extLst>
          </p:cNvPr>
          <p:cNvGrpSpPr/>
          <p:nvPr/>
        </p:nvGrpSpPr>
        <p:grpSpPr>
          <a:xfrm>
            <a:off x="3568411" y="3403600"/>
            <a:ext cx="304792" cy="304800"/>
            <a:chOff x="-2231664" y="931280"/>
            <a:chExt cx="1725747" cy="1729207"/>
          </a:xfrm>
          <a:solidFill>
            <a:srgbClr val="004F92"/>
          </a:solidFill>
        </p:grpSpPr>
        <p:sp>
          <p:nvSpPr>
            <p:cNvPr id="55" name="Freeform: Shape 35">
              <a:extLst>
                <a:ext uri="{FF2B5EF4-FFF2-40B4-BE49-F238E27FC236}">
                  <a16:creationId xmlns:a16="http://schemas.microsoft.com/office/drawing/2014/main" id="{6211C9A7-ED2B-4CE1-10EC-DEE942213EAA}"/>
                </a:ext>
              </a:extLst>
            </p:cNvPr>
            <p:cNvSpPr/>
            <p:nvPr/>
          </p:nvSpPr>
          <p:spPr>
            <a:xfrm>
              <a:off x="-2231664" y="931280"/>
              <a:ext cx="1725747" cy="1729207"/>
            </a:xfrm>
            <a:custGeom>
              <a:avLst/>
              <a:gdLst>
                <a:gd name="connsiteX0" fmla="*/ 1691163 w 1725747"/>
                <a:gd name="connsiteY0" fmla="*/ 1383367 h 1729207"/>
                <a:gd name="connsiteX1" fmla="*/ 1656579 w 1725747"/>
                <a:gd name="connsiteY1" fmla="*/ 1383367 h 1729207"/>
                <a:gd name="connsiteX2" fmla="*/ 1656579 w 1725747"/>
                <a:gd name="connsiteY2" fmla="*/ 587932 h 1729207"/>
                <a:gd name="connsiteX3" fmla="*/ 1646446 w 1725747"/>
                <a:gd name="connsiteY3" fmla="*/ 563481 h 1729207"/>
                <a:gd name="connsiteX4" fmla="*/ 1621995 w 1725747"/>
                <a:gd name="connsiteY4" fmla="*/ 553348 h 1729207"/>
                <a:gd name="connsiteX5" fmla="*/ 1414490 w 1725747"/>
                <a:gd name="connsiteY5" fmla="*/ 553348 h 1729207"/>
                <a:gd name="connsiteX6" fmla="*/ 1379906 w 1725747"/>
                <a:gd name="connsiteY6" fmla="*/ 587932 h 1729207"/>
                <a:gd name="connsiteX7" fmla="*/ 1379906 w 1725747"/>
                <a:gd name="connsiteY7" fmla="*/ 1383367 h 1729207"/>
                <a:gd name="connsiteX8" fmla="*/ 1310738 w 1725747"/>
                <a:gd name="connsiteY8" fmla="*/ 1383367 h 1729207"/>
                <a:gd name="connsiteX9" fmla="*/ 1310738 w 1725747"/>
                <a:gd name="connsiteY9" fmla="*/ 380428 h 1729207"/>
                <a:gd name="connsiteX10" fmla="*/ 1300363 w 1725747"/>
                <a:gd name="connsiteY10" fmla="*/ 356219 h 1729207"/>
                <a:gd name="connsiteX11" fmla="*/ 954522 w 1725747"/>
                <a:gd name="connsiteY11" fmla="*/ 10377 h 1729207"/>
                <a:gd name="connsiteX12" fmla="*/ 930313 w 1725747"/>
                <a:gd name="connsiteY12" fmla="*/ 2 h 1729207"/>
                <a:gd name="connsiteX13" fmla="*/ 138336 w 1725747"/>
                <a:gd name="connsiteY13" fmla="*/ 2 h 1729207"/>
                <a:gd name="connsiteX14" fmla="*/ 40297 w 1725747"/>
                <a:gd name="connsiteY14" fmla="*/ 42731 h 1729207"/>
                <a:gd name="connsiteX15" fmla="*/ 0 w 1725747"/>
                <a:gd name="connsiteY15" fmla="*/ 141797 h 1729207"/>
                <a:gd name="connsiteX16" fmla="*/ 0 w 1725747"/>
                <a:gd name="connsiteY16" fmla="*/ 1587413 h 1729207"/>
                <a:gd name="connsiteX17" fmla="*/ 40297 w 1725747"/>
                <a:gd name="connsiteY17" fmla="*/ 1686479 h 1729207"/>
                <a:gd name="connsiteX18" fmla="*/ 138336 w 1725747"/>
                <a:gd name="connsiteY18" fmla="*/ 1729208 h 1729207"/>
                <a:gd name="connsiteX19" fmla="*/ 1168943 w 1725747"/>
                <a:gd name="connsiteY19" fmla="*/ 1729208 h 1729207"/>
                <a:gd name="connsiteX20" fmla="*/ 1269209 w 1725747"/>
                <a:gd name="connsiteY20" fmla="*/ 1687679 h 1729207"/>
                <a:gd name="connsiteX21" fmla="*/ 1310738 w 1725747"/>
                <a:gd name="connsiteY21" fmla="*/ 1587413 h 1729207"/>
                <a:gd name="connsiteX22" fmla="*/ 1310738 w 1725747"/>
                <a:gd name="connsiteY22" fmla="*/ 1452535 h 1729207"/>
                <a:gd name="connsiteX23" fmla="*/ 1691163 w 1725747"/>
                <a:gd name="connsiteY23" fmla="*/ 1452535 h 1729207"/>
                <a:gd name="connsiteX24" fmla="*/ 1725747 w 1725747"/>
                <a:gd name="connsiteY24" fmla="*/ 1417951 h 1729207"/>
                <a:gd name="connsiteX25" fmla="*/ 1691163 w 1725747"/>
                <a:gd name="connsiteY25" fmla="*/ 1383367 h 1729207"/>
                <a:gd name="connsiteX26" fmla="*/ 964897 w 1725747"/>
                <a:gd name="connsiteY26" fmla="*/ 118280 h 1729207"/>
                <a:gd name="connsiteX27" fmla="*/ 1192464 w 1725747"/>
                <a:gd name="connsiteY27" fmla="*/ 345847 h 1729207"/>
                <a:gd name="connsiteX28" fmla="*/ 964897 w 1725747"/>
                <a:gd name="connsiteY28" fmla="*/ 345847 h 1729207"/>
                <a:gd name="connsiteX29" fmla="*/ 1241570 w 1725747"/>
                <a:gd name="connsiteY29" fmla="*/ 864605 h 1729207"/>
                <a:gd name="connsiteX30" fmla="*/ 1241570 w 1725747"/>
                <a:gd name="connsiteY30" fmla="*/ 1383367 h 1729207"/>
                <a:gd name="connsiteX31" fmla="*/ 1103233 w 1725747"/>
                <a:gd name="connsiteY31" fmla="*/ 1383367 h 1729207"/>
                <a:gd name="connsiteX32" fmla="*/ 1103233 w 1725747"/>
                <a:gd name="connsiteY32" fmla="*/ 830021 h 1729207"/>
                <a:gd name="connsiteX33" fmla="*/ 1241570 w 1725747"/>
                <a:gd name="connsiteY33" fmla="*/ 830021 h 1729207"/>
                <a:gd name="connsiteX34" fmla="*/ 1168943 w 1725747"/>
                <a:gd name="connsiteY34" fmla="*/ 1660040 h 1729207"/>
                <a:gd name="connsiteX35" fmla="*/ 138336 w 1725747"/>
                <a:gd name="connsiteY35" fmla="*/ 1660040 h 1729207"/>
                <a:gd name="connsiteX36" fmla="*/ 88162 w 1725747"/>
                <a:gd name="connsiteY36" fmla="*/ 1638573 h 1729207"/>
                <a:gd name="connsiteX37" fmla="*/ 69168 w 1725747"/>
                <a:gd name="connsiteY37" fmla="*/ 1587413 h 1729207"/>
                <a:gd name="connsiteX38" fmla="*/ 69168 w 1725747"/>
                <a:gd name="connsiteY38" fmla="*/ 141797 h 1729207"/>
                <a:gd name="connsiteX39" fmla="*/ 89431 w 1725747"/>
                <a:gd name="connsiteY39" fmla="*/ 92892 h 1729207"/>
                <a:gd name="connsiteX40" fmla="*/ 138336 w 1725747"/>
                <a:gd name="connsiteY40" fmla="*/ 72628 h 1729207"/>
                <a:gd name="connsiteX41" fmla="*/ 899187 w 1725747"/>
                <a:gd name="connsiteY41" fmla="*/ 72628 h 1729207"/>
                <a:gd name="connsiteX42" fmla="*/ 899187 w 1725747"/>
                <a:gd name="connsiteY42" fmla="*/ 380428 h 1729207"/>
                <a:gd name="connsiteX43" fmla="*/ 909320 w 1725747"/>
                <a:gd name="connsiteY43" fmla="*/ 404879 h 1729207"/>
                <a:gd name="connsiteX44" fmla="*/ 933771 w 1725747"/>
                <a:gd name="connsiteY44" fmla="*/ 415012 h 1729207"/>
                <a:gd name="connsiteX45" fmla="*/ 1245028 w 1725747"/>
                <a:gd name="connsiteY45" fmla="*/ 415012 h 1729207"/>
                <a:gd name="connsiteX46" fmla="*/ 1245028 w 1725747"/>
                <a:gd name="connsiteY46" fmla="*/ 760853 h 1729207"/>
                <a:gd name="connsiteX47" fmla="*/ 1068649 w 1725747"/>
                <a:gd name="connsiteY47" fmla="*/ 760853 h 1729207"/>
                <a:gd name="connsiteX48" fmla="*/ 1034065 w 1725747"/>
                <a:gd name="connsiteY48" fmla="*/ 795437 h 1729207"/>
                <a:gd name="connsiteX49" fmla="*/ 1034065 w 1725747"/>
                <a:gd name="connsiteY49" fmla="*/ 1383367 h 1729207"/>
                <a:gd name="connsiteX50" fmla="*/ 964897 w 1725747"/>
                <a:gd name="connsiteY50" fmla="*/ 1383367 h 1729207"/>
                <a:gd name="connsiteX51" fmla="*/ 964897 w 1725747"/>
                <a:gd name="connsiteY51" fmla="*/ 1002942 h 1729207"/>
                <a:gd name="connsiteX52" fmla="*/ 954764 w 1725747"/>
                <a:gd name="connsiteY52" fmla="*/ 978487 h 1729207"/>
                <a:gd name="connsiteX53" fmla="*/ 930313 w 1725747"/>
                <a:gd name="connsiteY53" fmla="*/ 968357 h 1729207"/>
                <a:gd name="connsiteX54" fmla="*/ 722808 w 1725747"/>
                <a:gd name="connsiteY54" fmla="*/ 968357 h 1729207"/>
                <a:gd name="connsiteX55" fmla="*/ 688224 w 1725747"/>
                <a:gd name="connsiteY55" fmla="*/ 1002942 h 1729207"/>
                <a:gd name="connsiteX56" fmla="*/ 688224 w 1725747"/>
                <a:gd name="connsiteY56" fmla="*/ 1383367 h 1729207"/>
                <a:gd name="connsiteX57" fmla="*/ 653640 w 1725747"/>
                <a:gd name="connsiteY57" fmla="*/ 1383367 h 1729207"/>
                <a:gd name="connsiteX58" fmla="*/ 619056 w 1725747"/>
                <a:gd name="connsiteY58" fmla="*/ 1417951 h 1729207"/>
                <a:gd name="connsiteX59" fmla="*/ 653640 w 1725747"/>
                <a:gd name="connsiteY59" fmla="*/ 1452535 h 1729207"/>
                <a:gd name="connsiteX60" fmla="*/ 1241570 w 1725747"/>
                <a:gd name="connsiteY60" fmla="*/ 1452535 h 1729207"/>
                <a:gd name="connsiteX61" fmla="*/ 1241570 w 1725747"/>
                <a:gd name="connsiteY61" fmla="*/ 1587413 h 1729207"/>
                <a:gd name="connsiteX62" fmla="*/ 1221400 w 1725747"/>
                <a:gd name="connsiteY62" fmla="*/ 1639870 h 1729207"/>
                <a:gd name="connsiteX63" fmla="*/ 1168943 w 1725747"/>
                <a:gd name="connsiteY63" fmla="*/ 1660040 h 1729207"/>
                <a:gd name="connsiteX64" fmla="*/ 895729 w 1725747"/>
                <a:gd name="connsiteY64" fmla="*/ 1383367 h 1729207"/>
                <a:gd name="connsiteX65" fmla="*/ 757392 w 1725747"/>
                <a:gd name="connsiteY65" fmla="*/ 1383367 h 1729207"/>
                <a:gd name="connsiteX66" fmla="*/ 757392 w 1725747"/>
                <a:gd name="connsiteY66" fmla="*/ 1037526 h 1729207"/>
                <a:gd name="connsiteX67" fmla="*/ 895729 w 1725747"/>
                <a:gd name="connsiteY67" fmla="*/ 1037526 h 1729207"/>
                <a:gd name="connsiteX68" fmla="*/ 1449074 w 1725747"/>
                <a:gd name="connsiteY68" fmla="*/ 1383367 h 1729207"/>
                <a:gd name="connsiteX69" fmla="*/ 1449074 w 1725747"/>
                <a:gd name="connsiteY69" fmla="*/ 622516 h 1729207"/>
                <a:gd name="connsiteX70" fmla="*/ 1587411 w 1725747"/>
                <a:gd name="connsiteY70" fmla="*/ 622516 h 1729207"/>
                <a:gd name="connsiteX71" fmla="*/ 1587411 w 1725747"/>
                <a:gd name="connsiteY71" fmla="*/ 1383367 h 1729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1725747" h="1729207">
                  <a:moveTo>
                    <a:pt x="1691163" y="1383367"/>
                  </a:moveTo>
                  <a:lnTo>
                    <a:pt x="1656579" y="1383367"/>
                  </a:lnTo>
                  <a:lnTo>
                    <a:pt x="1656579" y="587932"/>
                  </a:lnTo>
                  <a:cubicBezTo>
                    <a:pt x="1656579" y="578761"/>
                    <a:pt x="1652931" y="569966"/>
                    <a:pt x="1646446" y="563481"/>
                  </a:cubicBezTo>
                  <a:cubicBezTo>
                    <a:pt x="1639962" y="556997"/>
                    <a:pt x="1631167" y="553348"/>
                    <a:pt x="1621995" y="553348"/>
                  </a:cubicBezTo>
                  <a:lnTo>
                    <a:pt x="1414490" y="553348"/>
                  </a:lnTo>
                  <a:cubicBezTo>
                    <a:pt x="1395390" y="553348"/>
                    <a:pt x="1379906" y="568831"/>
                    <a:pt x="1379906" y="587932"/>
                  </a:cubicBezTo>
                  <a:lnTo>
                    <a:pt x="1379906" y="1383367"/>
                  </a:lnTo>
                  <a:lnTo>
                    <a:pt x="1310738" y="1383367"/>
                  </a:lnTo>
                  <a:lnTo>
                    <a:pt x="1310738" y="380428"/>
                  </a:lnTo>
                  <a:cubicBezTo>
                    <a:pt x="1310845" y="371256"/>
                    <a:pt x="1307076" y="362461"/>
                    <a:pt x="1300363" y="356219"/>
                  </a:cubicBezTo>
                  <a:lnTo>
                    <a:pt x="954522" y="10377"/>
                  </a:lnTo>
                  <a:cubicBezTo>
                    <a:pt x="948279" y="3663"/>
                    <a:pt x="939484" y="-106"/>
                    <a:pt x="930313" y="2"/>
                  </a:cubicBezTo>
                  <a:lnTo>
                    <a:pt x="138336" y="2"/>
                  </a:lnTo>
                  <a:cubicBezTo>
                    <a:pt x="101335" y="907"/>
                    <a:pt x="66156" y="16241"/>
                    <a:pt x="40297" y="42731"/>
                  </a:cubicBezTo>
                  <a:cubicBezTo>
                    <a:pt x="14453" y="69223"/>
                    <a:pt x="-14" y="104778"/>
                    <a:pt x="0" y="141797"/>
                  </a:cubicBezTo>
                  <a:lnTo>
                    <a:pt x="0" y="1587413"/>
                  </a:lnTo>
                  <a:cubicBezTo>
                    <a:pt x="-14" y="1624429"/>
                    <a:pt x="14456" y="1659984"/>
                    <a:pt x="40297" y="1686479"/>
                  </a:cubicBezTo>
                  <a:cubicBezTo>
                    <a:pt x="66156" y="1712971"/>
                    <a:pt x="101331" y="1728305"/>
                    <a:pt x="138336" y="1729208"/>
                  </a:cubicBezTo>
                  <a:lnTo>
                    <a:pt x="1168943" y="1729208"/>
                  </a:lnTo>
                  <a:cubicBezTo>
                    <a:pt x="1206553" y="1729208"/>
                    <a:pt x="1242611" y="1714268"/>
                    <a:pt x="1269209" y="1687679"/>
                  </a:cubicBezTo>
                  <a:cubicBezTo>
                    <a:pt x="1295798" y="1661081"/>
                    <a:pt x="1310738" y="1625023"/>
                    <a:pt x="1310738" y="1587413"/>
                  </a:cubicBezTo>
                  <a:lnTo>
                    <a:pt x="1310738" y="1452535"/>
                  </a:lnTo>
                  <a:lnTo>
                    <a:pt x="1691163" y="1452535"/>
                  </a:lnTo>
                  <a:cubicBezTo>
                    <a:pt x="1710264" y="1452535"/>
                    <a:pt x="1725747" y="1437052"/>
                    <a:pt x="1725747" y="1417951"/>
                  </a:cubicBezTo>
                  <a:cubicBezTo>
                    <a:pt x="1725747" y="1398850"/>
                    <a:pt x="1710264" y="1383367"/>
                    <a:pt x="1691163" y="1383367"/>
                  </a:cubicBezTo>
                  <a:close/>
                  <a:moveTo>
                    <a:pt x="964897" y="118280"/>
                  </a:moveTo>
                  <a:lnTo>
                    <a:pt x="1192464" y="345847"/>
                  </a:lnTo>
                  <a:lnTo>
                    <a:pt x="964897" y="345847"/>
                  </a:lnTo>
                  <a:close/>
                  <a:moveTo>
                    <a:pt x="1241570" y="864605"/>
                  </a:moveTo>
                  <a:lnTo>
                    <a:pt x="1241570" y="1383367"/>
                  </a:lnTo>
                  <a:lnTo>
                    <a:pt x="1103233" y="1383367"/>
                  </a:lnTo>
                  <a:lnTo>
                    <a:pt x="1103233" y="830021"/>
                  </a:lnTo>
                  <a:lnTo>
                    <a:pt x="1241570" y="830021"/>
                  </a:lnTo>
                  <a:close/>
                  <a:moveTo>
                    <a:pt x="1168943" y="1660040"/>
                  </a:moveTo>
                  <a:lnTo>
                    <a:pt x="138336" y="1660040"/>
                  </a:lnTo>
                  <a:cubicBezTo>
                    <a:pt x="119384" y="1660067"/>
                    <a:pt x="101238" y="1652300"/>
                    <a:pt x="88162" y="1638573"/>
                  </a:cubicBezTo>
                  <a:cubicBezTo>
                    <a:pt x="75086" y="1624847"/>
                    <a:pt x="68221" y="1606355"/>
                    <a:pt x="69168" y="1587413"/>
                  </a:cubicBezTo>
                  <a:lnTo>
                    <a:pt x="69168" y="141797"/>
                  </a:lnTo>
                  <a:cubicBezTo>
                    <a:pt x="69168" y="123451"/>
                    <a:pt x="76448" y="105861"/>
                    <a:pt x="89431" y="92892"/>
                  </a:cubicBezTo>
                  <a:cubicBezTo>
                    <a:pt x="102400" y="79909"/>
                    <a:pt x="119990" y="72628"/>
                    <a:pt x="138336" y="72628"/>
                  </a:cubicBezTo>
                  <a:lnTo>
                    <a:pt x="899187" y="72628"/>
                  </a:lnTo>
                  <a:lnTo>
                    <a:pt x="899187" y="380428"/>
                  </a:lnTo>
                  <a:cubicBezTo>
                    <a:pt x="899187" y="389599"/>
                    <a:pt x="902836" y="398394"/>
                    <a:pt x="909320" y="404879"/>
                  </a:cubicBezTo>
                  <a:cubicBezTo>
                    <a:pt x="915805" y="411363"/>
                    <a:pt x="924599" y="415012"/>
                    <a:pt x="933771" y="415012"/>
                  </a:cubicBezTo>
                  <a:lnTo>
                    <a:pt x="1245028" y="415012"/>
                  </a:lnTo>
                  <a:lnTo>
                    <a:pt x="1245028" y="760853"/>
                  </a:lnTo>
                  <a:lnTo>
                    <a:pt x="1068649" y="760853"/>
                  </a:lnTo>
                  <a:cubicBezTo>
                    <a:pt x="1049548" y="760853"/>
                    <a:pt x="1034065" y="776333"/>
                    <a:pt x="1034065" y="795437"/>
                  </a:cubicBezTo>
                  <a:lnTo>
                    <a:pt x="1034065" y="1383367"/>
                  </a:lnTo>
                  <a:lnTo>
                    <a:pt x="964897" y="1383367"/>
                  </a:lnTo>
                  <a:lnTo>
                    <a:pt x="964897" y="1002942"/>
                  </a:lnTo>
                  <a:cubicBezTo>
                    <a:pt x="964897" y="993766"/>
                    <a:pt x="961248" y="984972"/>
                    <a:pt x="954764" y="978487"/>
                  </a:cubicBezTo>
                  <a:cubicBezTo>
                    <a:pt x="948279" y="972003"/>
                    <a:pt x="939484" y="968357"/>
                    <a:pt x="930313" y="968357"/>
                  </a:cubicBezTo>
                  <a:lnTo>
                    <a:pt x="722808" y="968357"/>
                  </a:lnTo>
                  <a:cubicBezTo>
                    <a:pt x="703707" y="968357"/>
                    <a:pt x="688224" y="983837"/>
                    <a:pt x="688224" y="1002942"/>
                  </a:cubicBezTo>
                  <a:lnTo>
                    <a:pt x="688224" y="1383367"/>
                  </a:lnTo>
                  <a:lnTo>
                    <a:pt x="653640" y="1383367"/>
                  </a:lnTo>
                  <a:cubicBezTo>
                    <a:pt x="634539" y="1383367"/>
                    <a:pt x="619056" y="1398847"/>
                    <a:pt x="619056" y="1417951"/>
                  </a:cubicBezTo>
                  <a:cubicBezTo>
                    <a:pt x="619056" y="1437052"/>
                    <a:pt x="634539" y="1452535"/>
                    <a:pt x="653640" y="1452535"/>
                  </a:cubicBezTo>
                  <a:lnTo>
                    <a:pt x="1241570" y="1452535"/>
                  </a:lnTo>
                  <a:lnTo>
                    <a:pt x="1241570" y="1587413"/>
                  </a:lnTo>
                  <a:cubicBezTo>
                    <a:pt x="1242569" y="1606960"/>
                    <a:pt x="1235248" y="1626023"/>
                    <a:pt x="1221400" y="1639870"/>
                  </a:cubicBezTo>
                  <a:cubicBezTo>
                    <a:pt x="1207553" y="1653718"/>
                    <a:pt x="1188494" y="1661039"/>
                    <a:pt x="1168943" y="1660040"/>
                  </a:cubicBezTo>
                  <a:close/>
                  <a:moveTo>
                    <a:pt x="895729" y="1383367"/>
                  </a:moveTo>
                  <a:lnTo>
                    <a:pt x="757392" y="1383367"/>
                  </a:lnTo>
                  <a:lnTo>
                    <a:pt x="757392" y="1037526"/>
                  </a:lnTo>
                  <a:lnTo>
                    <a:pt x="895729" y="1037526"/>
                  </a:lnTo>
                  <a:close/>
                  <a:moveTo>
                    <a:pt x="1449074" y="1383367"/>
                  </a:moveTo>
                  <a:lnTo>
                    <a:pt x="1449074" y="622516"/>
                  </a:lnTo>
                  <a:lnTo>
                    <a:pt x="1587411" y="622516"/>
                  </a:lnTo>
                  <a:lnTo>
                    <a:pt x="1587411" y="1383367"/>
                  </a:lnTo>
                  <a:close/>
                </a:path>
              </a:pathLst>
            </a:custGeom>
            <a:solidFill>
              <a:srgbClr val="004F92"/>
            </a:solidFill>
            <a:ln w="34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36">
              <a:extLst>
                <a:ext uri="{FF2B5EF4-FFF2-40B4-BE49-F238E27FC236}">
                  <a16:creationId xmlns:a16="http://schemas.microsoft.com/office/drawing/2014/main" id="{F6E9A022-C32F-F89B-92CF-702E4E6184AD}"/>
                </a:ext>
              </a:extLst>
            </p:cNvPr>
            <p:cNvSpPr/>
            <p:nvPr/>
          </p:nvSpPr>
          <p:spPr>
            <a:xfrm>
              <a:off x="-2027618" y="1484628"/>
              <a:ext cx="899186" cy="69168"/>
            </a:xfrm>
            <a:custGeom>
              <a:avLst/>
              <a:gdLst>
                <a:gd name="connsiteX0" fmla="*/ 34584 w 899186"/>
                <a:gd name="connsiteY0" fmla="*/ 69168 h 69168"/>
                <a:gd name="connsiteX1" fmla="*/ 864603 w 899186"/>
                <a:gd name="connsiteY1" fmla="*/ 69168 h 69168"/>
                <a:gd name="connsiteX2" fmla="*/ 899187 w 899186"/>
                <a:gd name="connsiteY2" fmla="*/ 34584 h 69168"/>
                <a:gd name="connsiteX3" fmla="*/ 864603 w 899186"/>
                <a:gd name="connsiteY3" fmla="*/ 0 h 69168"/>
                <a:gd name="connsiteX4" fmla="*/ 34584 w 899186"/>
                <a:gd name="connsiteY4" fmla="*/ 0 h 69168"/>
                <a:gd name="connsiteX5" fmla="*/ 0 w 899186"/>
                <a:gd name="connsiteY5" fmla="*/ 34584 h 69168"/>
                <a:gd name="connsiteX6" fmla="*/ 34584 w 899186"/>
                <a:gd name="connsiteY6" fmla="*/ 69168 h 69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9186" h="69168">
                  <a:moveTo>
                    <a:pt x="34584" y="69168"/>
                  </a:moveTo>
                  <a:lnTo>
                    <a:pt x="864603" y="69168"/>
                  </a:lnTo>
                  <a:cubicBezTo>
                    <a:pt x="883704" y="69168"/>
                    <a:pt x="899187" y="53685"/>
                    <a:pt x="899187" y="34584"/>
                  </a:cubicBezTo>
                  <a:cubicBezTo>
                    <a:pt x="899187" y="15483"/>
                    <a:pt x="883704" y="0"/>
                    <a:pt x="864603" y="0"/>
                  </a:cubicBezTo>
                  <a:lnTo>
                    <a:pt x="34584" y="0"/>
                  </a:lnTo>
                  <a:cubicBezTo>
                    <a:pt x="15483" y="0"/>
                    <a:pt x="0" y="15483"/>
                    <a:pt x="0" y="34584"/>
                  </a:cubicBezTo>
                  <a:cubicBezTo>
                    <a:pt x="0" y="53685"/>
                    <a:pt x="15483" y="69168"/>
                    <a:pt x="34584" y="69168"/>
                  </a:cubicBezTo>
                  <a:close/>
                </a:path>
              </a:pathLst>
            </a:custGeom>
            <a:solidFill>
              <a:srgbClr val="004F92"/>
            </a:solidFill>
            <a:ln w="34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37">
              <a:extLst>
                <a:ext uri="{FF2B5EF4-FFF2-40B4-BE49-F238E27FC236}">
                  <a16:creationId xmlns:a16="http://schemas.microsoft.com/office/drawing/2014/main" id="{74D0588F-B917-F633-C069-256EB443092E}"/>
                </a:ext>
              </a:extLst>
            </p:cNvPr>
            <p:cNvSpPr/>
            <p:nvPr/>
          </p:nvSpPr>
          <p:spPr>
            <a:xfrm>
              <a:off x="-2027618" y="1622964"/>
              <a:ext cx="691682" cy="69168"/>
            </a:xfrm>
            <a:custGeom>
              <a:avLst/>
              <a:gdLst>
                <a:gd name="connsiteX0" fmla="*/ 34584 w 691682"/>
                <a:gd name="connsiteY0" fmla="*/ 69168 h 69168"/>
                <a:gd name="connsiteX1" fmla="*/ 657098 w 691682"/>
                <a:gd name="connsiteY1" fmla="*/ 69168 h 69168"/>
                <a:gd name="connsiteX2" fmla="*/ 691682 w 691682"/>
                <a:gd name="connsiteY2" fmla="*/ 34584 h 69168"/>
                <a:gd name="connsiteX3" fmla="*/ 657098 w 691682"/>
                <a:gd name="connsiteY3" fmla="*/ 0 h 69168"/>
                <a:gd name="connsiteX4" fmla="*/ 34584 w 691682"/>
                <a:gd name="connsiteY4" fmla="*/ 0 h 69168"/>
                <a:gd name="connsiteX5" fmla="*/ 0 w 691682"/>
                <a:gd name="connsiteY5" fmla="*/ 34584 h 69168"/>
                <a:gd name="connsiteX6" fmla="*/ 34584 w 691682"/>
                <a:gd name="connsiteY6" fmla="*/ 69168 h 69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1682" h="69168">
                  <a:moveTo>
                    <a:pt x="34584" y="69168"/>
                  </a:moveTo>
                  <a:lnTo>
                    <a:pt x="657098" y="69168"/>
                  </a:lnTo>
                  <a:cubicBezTo>
                    <a:pt x="676199" y="69168"/>
                    <a:pt x="691682" y="53685"/>
                    <a:pt x="691682" y="34584"/>
                  </a:cubicBezTo>
                  <a:cubicBezTo>
                    <a:pt x="691682" y="15483"/>
                    <a:pt x="676199" y="0"/>
                    <a:pt x="657098" y="0"/>
                  </a:cubicBezTo>
                  <a:lnTo>
                    <a:pt x="34584" y="0"/>
                  </a:lnTo>
                  <a:cubicBezTo>
                    <a:pt x="15483" y="0"/>
                    <a:pt x="0" y="15483"/>
                    <a:pt x="0" y="34584"/>
                  </a:cubicBezTo>
                  <a:cubicBezTo>
                    <a:pt x="0" y="53685"/>
                    <a:pt x="15483" y="69168"/>
                    <a:pt x="34584" y="69168"/>
                  </a:cubicBezTo>
                  <a:close/>
                </a:path>
              </a:pathLst>
            </a:custGeom>
            <a:solidFill>
              <a:srgbClr val="004F92"/>
            </a:solidFill>
            <a:ln w="34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38">
              <a:extLst>
                <a:ext uri="{FF2B5EF4-FFF2-40B4-BE49-F238E27FC236}">
                  <a16:creationId xmlns:a16="http://schemas.microsoft.com/office/drawing/2014/main" id="{B3BF1684-840C-0959-15B6-DC98EF2CD7F8}"/>
                </a:ext>
              </a:extLst>
            </p:cNvPr>
            <p:cNvSpPr/>
            <p:nvPr/>
          </p:nvSpPr>
          <p:spPr>
            <a:xfrm>
              <a:off x="-2027618" y="1761301"/>
              <a:ext cx="415009" cy="69168"/>
            </a:xfrm>
            <a:custGeom>
              <a:avLst/>
              <a:gdLst>
                <a:gd name="connsiteX0" fmla="*/ 380425 w 415009"/>
                <a:gd name="connsiteY0" fmla="*/ 0 h 69168"/>
                <a:gd name="connsiteX1" fmla="*/ 34584 w 415009"/>
                <a:gd name="connsiteY1" fmla="*/ 0 h 69168"/>
                <a:gd name="connsiteX2" fmla="*/ 0 w 415009"/>
                <a:gd name="connsiteY2" fmla="*/ 34584 h 69168"/>
                <a:gd name="connsiteX3" fmla="*/ 34584 w 415009"/>
                <a:gd name="connsiteY3" fmla="*/ 69168 h 69168"/>
                <a:gd name="connsiteX4" fmla="*/ 380425 w 415009"/>
                <a:gd name="connsiteY4" fmla="*/ 69168 h 69168"/>
                <a:gd name="connsiteX5" fmla="*/ 415009 w 415009"/>
                <a:gd name="connsiteY5" fmla="*/ 34584 h 69168"/>
                <a:gd name="connsiteX6" fmla="*/ 380425 w 415009"/>
                <a:gd name="connsiteY6" fmla="*/ 0 h 69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5009" h="69168">
                  <a:moveTo>
                    <a:pt x="380425" y="0"/>
                  </a:moveTo>
                  <a:lnTo>
                    <a:pt x="34584" y="0"/>
                  </a:lnTo>
                  <a:cubicBezTo>
                    <a:pt x="15483" y="0"/>
                    <a:pt x="0" y="15483"/>
                    <a:pt x="0" y="34584"/>
                  </a:cubicBezTo>
                  <a:cubicBezTo>
                    <a:pt x="0" y="53685"/>
                    <a:pt x="15483" y="69168"/>
                    <a:pt x="34584" y="69168"/>
                  </a:cubicBezTo>
                  <a:lnTo>
                    <a:pt x="380425" y="69168"/>
                  </a:lnTo>
                  <a:cubicBezTo>
                    <a:pt x="399526" y="69168"/>
                    <a:pt x="415009" y="53685"/>
                    <a:pt x="415009" y="34584"/>
                  </a:cubicBezTo>
                  <a:cubicBezTo>
                    <a:pt x="415009" y="15483"/>
                    <a:pt x="399526" y="0"/>
                    <a:pt x="380425" y="0"/>
                  </a:cubicBezTo>
                  <a:close/>
                </a:path>
              </a:pathLst>
            </a:custGeom>
            <a:solidFill>
              <a:srgbClr val="004F92"/>
            </a:solidFill>
            <a:ln w="34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9" name="Retângulo 4">
            <a:extLst>
              <a:ext uri="{FF2B5EF4-FFF2-40B4-BE49-F238E27FC236}">
                <a16:creationId xmlns:a16="http://schemas.microsoft.com/office/drawing/2014/main" id="{A2AAB047-EE98-409B-F863-DF92BFF7EE7E}"/>
              </a:ext>
            </a:extLst>
          </p:cNvPr>
          <p:cNvSpPr/>
          <p:nvPr/>
        </p:nvSpPr>
        <p:spPr>
          <a:xfrm>
            <a:off x="3861294" y="3463925"/>
            <a:ext cx="6767624" cy="28892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317472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Aquisição de Imobilizado </a:t>
            </a:r>
            <a:r>
              <a:rPr lang="pt-BR" sz="1200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(R$ Mil)</a:t>
            </a:r>
            <a:endParaRPr lang="pt-BR" sz="1600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71" name="Chart 3">
            <a:extLst>
              <a:ext uri="{FF2B5EF4-FFF2-40B4-BE49-F238E27FC236}">
                <a16:creationId xmlns:a16="http://schemas.microsoft.com/office/drawing/2014/main" id="{10AE9526-756A-9278-8927-951E5B79E750}"/>
              </a:ext>
            </a:extLst>
          </p:cNvPr>
          <p:cNvGraphicFramePr/>
          <p:nvPr>
            <p:custDataLst>
              <p:tags r:id="rId47"/>
            </p:custDataLst>
          </p:nvPr>
        </p:nvGraphicFramePr>
        <p:xfrm>
          <a:off x="3681413" y="3833813"/>
          <a:ext cx="8258175" cy="1136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6"/>
          </a:graphicData>
        </a:graphic>
      </p:graphicFrame>
      <p:sp>
        <p:nvSpPr>
          <p:cNvPr id="85" name="Retângulo 84">
            <a:extLst>
              <a:ext uri="{FF2B5EF4-FFF2-40B4-BE49-F238E27FC236}">
                <a16:creationId xmlns:a16="http://schemas.microsoft.com/office/drawing/2014/main" id="{E126B605-1425-C02F-691C-95951B97A652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3700463" y="4860925"/>
            <a:ext cx="1841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B7F974E2-CC9E-4707-8A69-1D92DBA1639D}" type="datetime'''''''''''''''''''''J''''''''''''''an'''''''''''''">
              <a:rPr lang="pt-BR" altLang="en-US" sz="1000" b="1" smtClean="0">
                <a:solidFill>
                  <a:srgbClr val="3D3D3D"/>
                </a:solidFill>
              </a:rPr>
              <a:pPr/>
              <a:t>Jan</a:t>
            </a:fld>
            <a:endParaRPr lang="pt-BR" sz="1000" b="1" dirty="0">
              <a:solidFill>
                <a:srgbClr val="3D3D3D"/>
              </a:solidFill>
            </a:endParaRPr>
          </a:p>
        </p:txBody>
      </p:sp>
      <p:sp>
        <p:nvSpPr>
          <p:cNvPr id="86" name="Retângulo 85">
            <a:extLst>
              <a:ext uri="{FF2B5EF4-FFF2-40B4-BE49-F238E27FC236}">
                <a16:creationId xmlns:a16="http://schemas.microsoft.com/office/drawing/2014/main" id="{5439DFC9-7DB0-136F-CC0C-3946A89ECC05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4425950" y="4860925"/>
            <a:ext cx="195263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8153F5D7-2751-40EC-A54E-8761372A7293}" type="datetime'''''''''''''''''''F''''''''''ev'''''''''''''''''''''''''''">
              <a:rPr lang="pt-BR" altLang="en-US" sz="1000" b="1" smtClean="0">
                <a:solidFill>
                  <a:srgbClr val="3D3D3D"/>
                </a:solidFill>
              </a:rPr>
              <a:pPr/>
              <a:t>Fev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87" name="Retângulo 86">
            <a:extLst>
              <a:ext uri="{FF2B5EF4-FFF2-40B4-BE49-F238E27FC236}">
                <a16:creationId xmlns:a16="http://schemas.microsoft.com/office/drawing/2014/main" id="{2132DEB3-E3AE-DDDA-5122-F9714788BACE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5138738" y="4860925"/>
            <a:ext cx="23018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D323F143-A8DF-4F43-A134-0C68BBF784A5}" type="datetime'''''''M''a''''''''''r'''''''''''''''''''''''''''">
              <a:rPr lang="pt-BR" altLang="en-US" sz="1000" b="1" smtClean="0">
                <a:solidFill>
                  <a:srgbClr val="3D3D3D"/>
                </a:solidFill>
              </a:rPr>
              <a:pPr/>
              <a:t>Mar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88" name="Retângulo 87">
            <a:extLst>
              <a:ext uri="{FF2B5EF4-FFF2-40B4-BE49-F238E27FC236}">
                <a16:creationId xmlns:a16="http://schemas.microsoft.com/office/drawing/2014/main" id="{97944543-D02C-36C9-76FF-350D1AA9ABA3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5884863" y="4860925"/>
            <a:ext cx="201613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E94D99DD-A0A1-4678-99B6-F0C626B277A2}" type="datetime'''''A''''''''''''''b''''''r'''''''">
              <a:rPr lang="pt-BR" altLang="en-US" sz="1000" b="1" smtClean="0">
                <a:solidFill>
                  <a:srgbClr val="3D3D3D"/>
                </a:solidFill>
              </a:rPr>
              <a:pPr/>
              <a:t>Abr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89" name="Retângulo 88">
            <a:extLst>
              <a:ext uri="{FF2B5EF4-FFF2-40B4-BE49-F238E27FC236}">
                <a16:creationId xmlns:a16="http://schemas.microsoft.com/office/drawing/2014/main" id="{4CA611F6-DF8C-2B97-7C65-76CB6FC222A0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6607175" y="4860925"/>
            <a:ext cx="21748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7EF420FA-7FE4-43CD-A831-E947D9731AE9}" type="datetime'''''''''''''M''''''''''''''''a''''''''''''''i'''''''''''">
              <a:rPr lang="pt-BR" altLang="en-US" sz="1000" b="1" smtClean="0">
                <a:solidFill>
                  <a:srgbClr val="3D3D3D"/>
                </a:solidFill>
              </a:rPr>
              <a:pPr/>
              <a:t>Mai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1" name="Retângulo 90">
            <a:extLst>
              <a:ext uri="{FF2B5EF4-FFF2-40B4-BE49-F238E27FC236}">
                <a16:creationId xmlns:a16="http://schemas.microsoft.com/office/drawing/2014/main" id="{379F5B51-389F-4828-0789-FB0FFAF83674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7350125" y="4860925"/>
            <a:ext cx="19050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2F551019-462D-46A3-9A7F-FC013DD9CAB6}" type="datetime'''''''''J''''''''''''''u''''''''''''''''''n'''''">
              <a:rPr lang="pt-BR" altLang="en-US" sz="1000" b="1" smtClean="0">
                <a:solidFill>
                  <a:srgbClr val="3D3D3D"/>
                </a:solidFill>
              </a:rPr>
              <a:pPr/>
              <a:t>Jun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2" name="Retângulo 91">
            <a:extLst>
              <a:ext uri="{FF2B5EF4-FFF2-40B4-BE49-F238E27FC236}">
                <a16:creationId xmlns:a16="http://schemas.microsoft.com/office/drawing/2014/main" id="{EB7CD46A-B9B7-A4C7-2525-B3DC85A320AA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8099425" y="4860925"/>
            <a:ext cx="15398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FD4B5D9F-6782-4FCC-90F4-7710109D5235}" type="datetime'''''''''J''''ul'''''''''''''''''''''''''''''''''">
              <a:rPr lang="pt-BR" altLang="en-US" sz="1000" b="1" smtClean="0">
                <a:solidFill>
                  <a:srgbClr val="3D3D3D"/>
                </a:solidFill>
              </a:rPr>
              <a:pPr/>
              <a:t>Jul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3" name="Retângulo 92">
            <a:extLst>
              <a:ext uri="{FF2B5EF4-FFF2-40B4-BE49-F238E27FC236}">
                <a16:creationId xmlns:a16="http://schemas.microsoft.com/office/drawing/2014/main" id="{210394FC-D407-FFB1-706E-8CC68FFA6AC9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8797925" y="4860925"/>
            <a:ext cx="21748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86B0E063-002E-4033-8F72-F0448420C82C}" type="datetime'A''''''''''''''''''''''''''g''''''''''''''''''''''''o'''''">
              <a:rPr lang="pt-BR" altLang="en-US" sz="1000" b="1" smtClean="0">
                <a:solidFill>
                  <a:srgbClr val="3D3D3D"/>
                </a:solidFill>
              </a:rPr>
              <a:pPr/>
              <a:t>Ago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4" name="Retângulo 93">
            <a:extLst>
              <a:ext uri="{FF2B5EF4-FFF2-40B4-BE49-F238E27FC236}">
                <a16:creationId xmlns:a16="http://schemas.microsoft.com/office/drawing/2014/main" id="{419A771A-F6FF-E5CE-A3D6-28B90D065809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9545638" y="4860925"/>
            <a:ext cx="18097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6515744C-A291-4B6F-889D-DACEE7572CCD}" type="datetime'''''''''''''''''S''''''''e''''''''t'''''''''''''''''''''''''''">
              <a:rPr lang="pt-BR" altLang="en-US" sz="1000" b="1" smtClean="0">
                <a:solidFill>
                  <a:srgbClr val="3D3D3D"/>
                </a:solidFill>
              </a:rPr>
              <a:pPr/>
              <a:t>Set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5" name="Retângulo 94">
            <a:extLst>
              <a:ext uri="{FF2B5EF4-FFF2-40B4-BE49-F238E27FC236}">
                <a16:creationId xmlns:a16="http://schemas.microsoft.com/office/drawing/2014/main" id="{5F79C032-847B-FDD3-D58D-2B1A70F69284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10263188" y="4860925"/>
            <a:ext cx="21113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3889CCD3-09C4-4CD7-A257-FBFA65E4D4F8}" type="datetime'''''''''''''''''''''''''''''''''''''''''''O''''''''''''u''t'">
              <a:rPr lang="pt-BR" altLang="en-US" sz="1000" b="1" smtClean="0">
                <a:solidFill>
                  <a:srgbClr val="3D3D3D"/>
                </a:solidFill>
              </a:rPr>
              <a:pPr/>
              <a:t>Out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6" name="Retângulo 95">
            <a:extLst>
              <a:ext uri="{FF2B5EF4-FFF2-40B4-BE49-F238E27FC236}">
                <a16:creationId xmlns:a16="http://schemas.microsoft.com/office/drawing/2014/main" id="{2885C715-7FD6-EB22-95EC-8E666D47C998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10985500" y="4860925"/>
            <a:ext cx="22542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01B4A7C2-90B0-4CBA-826B-4E801EF4D3B9}" type="datetime'''''''''''N''''''o''''''''''''''''v'''''''''''''''''''''''''''">
              <a:rPr lang="pt-BR" altLang="en-US" sz="1000" b="1" smtClean="0">
                <a:solidFill>
                  <a:srgbClr val="3D3D3D"/>
                </a:solidFill>
              </a:rPr>
              <a:pPr/>
              <a:t>Nov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7" name="Retângulo 96">
            <a:extLst>
              <a:ext uri="{FF2B5EF4-FFF2-40B4-BE49-F238E27FC236}">
                <a16:creationId xmlns:a16="http://schemas.microsoft.com/office/drawing/2014/main" id="{A3CD34A7-993B-899D-DB9B-ACBD7EC507FC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11725275" y="4860925"/>
            <a:ext cx="20637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90EE370E-0867-4BFC-8116-6D5A9D52F545}" type="datetime'''''''''''''''''''D''''''''''e''''''''''''''''''''''''''z'">
              <a:rPr lang="pt-BR" altLang="en-US" sz="1000" b="1" smtClean="0">
                <a:solidFill>
                  <a:srgbClr val="3D3D3D"/>
                </a:solidFill>
              </a:rPr>
              <a:pPr/>
              <a:t>Dez</a:t>
            </a:fld>
            <a:endParaRPr lang="pt-BR" sz="1000" b="1">
              <a:solidFill>
                <a:srgbClr val="3D3D3D"/>
              </a:solidFill>
            </a:endParaRPr>
          </a:p>
        </p:txBody>
      </p:sp>
      <p:cxnSp>
        <p:nvCxnSpPr>
          <p:cNvPr id="98" name="Conector reto 97">
            <a:extLst>
              <a:ext uri="{FF2B5EF4-FFF2-40B4-BE49-F238E27FC236}">
                <a16:creationId xmlns:a16="http://schemas.microsoft.com/office/drawing/2014/main" id="{23447ED0-5B38-126D-B5B9-31412829991F}"/>
              </a:ext>
            </a:extLst>
          </p:cNvPr>
          <p:cNvCxnSpPr/>
          <p:nvPr>
            <p:custDataLst>
              <p:tags r:id="rId60"/>
            </p:custDataLst>
          </p:nvPr>
        </p:nvCxnSpPr>
        <p:spPr bwMode="gray">
          <a:xfrm>
            <a:off x="7488238" y="3576638"/>
            <a:ext cx="66675" cy="0"/>
          </a:xfrm>
          <a:prstGeom prst="line">
            <a:avLst/>
          </a:prstGeom>
          <a:ln w="9525" cap="rnd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Conector reto 98">
            <a:extLst>
              <a:ext uri="{FF2B5EF4-FFF2-40B4-BE49-F238E27FC236}">
                <a16:creationId xmlns:a16="http://schemas.microsoft.com/office/drawing/2014/main" id="{1DB74B0B-1E20-9948-8BB6-7D3567F1B78C}"/>
              </a:ext>
            </a:extLst>
          </p:cNvPr>
          <p:cNvCxnSpPr/>
          <p:nvPr>
            <p:custDataLst>
              <p:tags r:id="rId61"/>
            </p:custDataLst>
          </p:nvPr>
        </p:nvCxnSpPr>
        <p:spPr bwMode="gray">
          <a:xfrm flipH="1">
            <a:off x="7281863" y="3576638"/>
            <a:ext cx="66675" cy="0"/>
          </a:xfrm>
          <a:prstGeom prst="line">
            <a:avLst/>
          </a:prstGeom>
          <a:ln w="9525" cap="rnd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Conector reto 99">
            <a:extLst>
              <a:ext uri="{FF2B5EF4-FFF2-40B4-BE49-F238E27FC236}">
                <a16:creationId xmlns:a16="http://schemas.microsoft.com/office/drawing/2014/main" id="{BFC382DE-A3F1-08A8-7B12-975057689D54}"/>
              </a:ext>
            </a:extLst>
          </p:cNvPr>
          <p:cNvCxnSpPr/>
          <p:nvPr>
            <p:custDataLst>
              <p:tags r:id="rId62"/>
            </p:custDataLst>
          </p:nvPr>
        </p:nvCxnSpPr>
        <p:spPr bwMode="gray">
          <a:xfrm>
            <a:off x="7981950" y="3576638"/>
            <a:ext cx="263525" cy="0"/>
          </a:xfrm>
          <a:prstGeom prst="line">
            <a:avLst/>
          </a:prstGeom>
          <a:ln w="19050" cap="rnd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1" name="Elipse 100">
            <a:extLst>
              <a:ext uri="{FF2B5EF4-FFF2-40B4-BE49-F238E27FC236}">
                <a16:creationId xmlns:a16="http://schemas.microsoft.com/office/drawing/2014/main" id="{2BC5D4FE-4427-FCAB-73A3-D0A192B00FA6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7386638" y="3544888"/>
            <a:ext cx="63500" cy="63500"/>
          </a:xfrm>
          <a:prstGeom prst="ellipse">
            <a:avLst/>
          </a:prstGeom>
          <a:solidFill>
            <a:srgbClr val="969696"/>
          </a:solidFill>
          <a:ln w="9525" cap="flat" cmpd="sng" algn="ctr">
            <a:solidFill>
              <a:srgbClr val="96969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pt-BR" sz="1000" b="1" kern="0" dirty="0">
              <a:solidFill>
                <a:srgbClr val="004F9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2" name="Triângulo isósceles 101">
            <a:extLst>
              <a:ext uri="{FF2B5EF4-FFF2-40B4-BE49-F238E27FC236}">
                <a16:creationId xmlns:a16="http://schemas.microsoft.com/office/drawing/2014/main" id="{F7446760-20A1-D451-9D5B-7580019C9586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8081963" y="3544888"/>
            <a:ext cx="63500" cy="63500"/>
          </a:xfrm>
          <a:prstGeom prst="triangle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pt-BR" sz="1000" b="1" kern="0" dirty="0">
              <a:solidFill>
                <a:srgbClr val="004F9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3" name="Retângulo 102">
            <a:extLst>
              <a:ext uri="{FF2B5EF4-FFF2-40B4-BE49-F238E27FC236}">
                <a16:creationId xmlns:a16="http://schemas.microsoft.com/office/drawing/2014/main" id="{3C62EC98-75D2-5E57-DA15-BF757DB77B68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7610475" y="3505200"/>
            <a:ext cx="26035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4F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/>
          <a:p>
            <a:pPr fontAlgn="auto">
              <a:buClr>
                <a:srgbClr val="000000"/>
              </a:buClr>
            </a:pPr>
            <a:fld id="{72646C1A-0594-45A7-9B05-8E9B155B7481}" type="datetime'''''''''''''20''''''''''''''''''''''2''''''''''''''''4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024</a:t>
            </a:fld>
            <a:endParaRPr lang="pt-BR" sz="1000" b="1" kern="0" dirty="0">
              <a:solidFill>
                <a:schemeClr val="tx1">
                  <a:lumMod val="65000"/>
                  <a:lumOff val="35000"/>
                </a:schemeClr>
              </a:solidFill>
              <a:cs typeface="Segoe UI" panose="020B0502040204020203" pitchFamily="34" charset="0"/>
            </a:endParaRPr>
          </a:p>
        </p:txBody>
      </p:sp>
      <p:sp>
        <p:nvSpPr>
          <p:cNvPr id="104" name="Retângulo 103">
            <a:extLst>
              <a:ext uri="{FF2B5EF4-FFF2-40B4-BE49-F238E27FC236}">
                <a16:creationId xmlns:a16="http://schemas.microsoft.com/office/drawing/2014/main" id="{1D07EFFF-EDFE-9FE2-9562-FB4695AF4669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8305800" y="3505200"/>
            <a:ext cx="26035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4F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/>
          <a:p>
            <a:pPr fontAlgn="auto">
              <a:buClr>
                <a:srgbClr val="000000"/>
              </a:buClr>
            </a:pPr>
            <a:fld id="{B8586E0C-F5E8-4935-9311-BA94BC47B16D}" type="datetime'''''''202''5''''''''''''''''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025</a:t>
            </a:fld>
            <a:endParaRPr lang="pt-BR" sz="1000" b="1" kern="0" dirty="0">
              <a:solidFill>
                <a:schemeClr val="tx1">
                  <a:lumMod val="65000"/>
                  <a:lumOff val="35000"/>
                </a:schemeClr>
              </a:solidFill>
              <a:cs typeface="Segoe UI" panose="020B0502040204020203" pitchFamily="34" charset="0"/>
            </a:endParaRPr>
          </a:p>
        </p:txBody>
      </p:sp>
      <p:sp>
        <p:nvSpPr>
          <p:cNvPr id="106" name="CaixaDeTexto 105">
            <a:extLst>
              <a:ext uri="{FF2B5EF4-FFF2-40B4-BE49-F238E27FC236}">
                <a16:creationId xmlns:a16="http://schemas.microsoft.com/office/drawing/2014/main" id="{A413CAE2-D493-CB83-B0BA-1684DCA04027}"/>
              </a:ext>
            </a:extLst>
          </p:cNvPr>
          <p:cNvSpPr txBox="1"/>
          <p:nvPr/>
        </p:nvSpPr>
        <p:spPr>
          <a:xfrm>
            <a:off x="3595341" y="5116355"/>
            <a:ext cx="480491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10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an/25: </a:t>
            </a:r>
            <a:r>
              <a:rPr lang="pt-BR" sz="1000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 Intercomunicadores Pedestal</a:t>
            </a:r>
          </a:p>
          <a:p>
            <a:pPr algn="just"/>
            <a:r>
              <a:rPr lang="pt-BR" sz="1000" b="1" dirty="0" err="1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ev</a:t>
            </a:r>
            <a:r>
              <a:rPr lang="pt-BR" sz="10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/25:</a:t>
            </a:r>
            <a:r>
              <a:rPr lang="pt-BR" sz="1000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2 leitores biométricos, 2 ventiladores, 2 bombas centrífugas</a:t>
            </a:r>
          </a:p>
          <a:p>
            <a:pPr algn="just"/>
            <a:r>
              <a:rPr lang="pt-BR" sz="10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r/25: </a:t>
            </a:r>
            <a:r>
              <a:rPr lang="pt-BR" sz="1000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 micro-ondas, 1 ar condicionado, 1 cofre</a:t>
            </a:r>
          </a:p>
          <a:p>
            <a:pPr algn="just"/>
            <a:r>
              <a:rPr lang="pt-BR" sz="1000" b="1" dirty="0" err="1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br</a:t>
            </a:r>
            <a:r>
              <a:rPr lang="pt-BR" sz="10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/25: </a:t>
            </a:r>
            <a:r>
              <a:rPr lang="pt-BR" sz="1000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 picador de carne, 1 </a:t>
            </a:r>
            <a:r>
              <a:rPr lang="pt-BR" sz="1000" dirty="0" err="1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oktop</a:t>
            </a:r>
            <a:r>
              <a:rPr lang="pt-BR" sz="1000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e indução 2 bocas e 1 bomba centrífuga</a:t>
            </a:r>
          </a:p>
          <a:p>
            <a:pPr algn="just"/>
            <a:r>
              <a:rPr lang="pt-BR" sz="10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i/25: </a:t>
            </a:r>
            <a:r>
              <a:rPr lang="pt-BR" sz="1000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 bomba centrífuga e 1 serra elétrica para gesso</a:t>
            </a:r>
          </a:p>
          <a:p>
            <a:pPr algn="just"/>
            <a:r>
              <a:rPr lang="pt-BR" sz="1000" b="1" dirty="0" err="1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un</a:t>
            </a:r>
            <a:r>
              <a:rPr lang="pt-BR" sz="10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/25: </a:t>
            </a:r>
            <a:r>
              <a:rPr lang="pt-BR" sz="1000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 fogão, 1 estufa e 1 bomba a vácuo</a:t>
            </a:r>
          </a:p>
        </p:txBody>
      </p:sp>
      <p:sp>
        <p:nvSpPr>
          <p:cNvPr id="75" name="CaixaDeTexto 74">
            <a:extLst>
              <a:ext uri="{FF2B5EF4-FFF2-40B4-BE49-F238E27FC236}">
                <a16:creationId xmlns:a16="http://schemas.microsoft.com/office/drawing/2014/main" id="{078EA5D1-69BA-3B9F-997E-9F4E32EDE83E}"/>
              </a:ext>
            </a:extLst>
          </p:cNvPr>
          <p:cNvSpPr txBox="1"/>
          <p:nvPr/>
        </p:nvSpPr>
        <p:spPr>
          <a:xfrm>
            <a:off x="8176420" y="5111403"/>
            <a:ext cx="38661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10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ul/25: </a:t>
            </a:r>
            <a:r>
              <a:rPr lang="pt-BR" sz="1000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 carrinhos de emergência, 1 cofre e 5 memórias SSD</a:t>
            </a:r>
          </a:p>
          <a:p>
            <a:pPr algn="just"/>
            <a:r>
              <a:rPr lang="pt-BR" sz="1000" b="1" dirty="0" err="1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go</a:t>
            </a:r>
            <a:r>
              <a:rPr lang="pt-BR" sz="10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/25: </a:t>
            </a:r>
            <a:r>
              <a:rPr lang="pt-BR" sz="1000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 compressores e 2 armários</a:t>
            </a:r>
          </a:p>
        </p:txBody>
      </p:sp>
      <p:graphicFrame>
        <p:nvGraphicFramePr>
          <p:cNvPr id="65" name="Objeto 64">
            <a:extLst>
              <a:ext uri="{FF2B5EF4-FFF2-40B4-BE49-F238E27FC236}">
                <a16:creationId xmlns:a16="http://schemas.microsoft.com/office/drawing/2014/main" id="{1A70385A-40EC-2207-2A0E-E5303A34E37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56310968"/>
              </p:ext>
            </p:extLst>
          </p:nvPr>
        </p:nvGraphicFramePr>
        <p:xfrm>
          <a:off x="3617177" y="1214737"/>
          <a:ext cx="8291373" cy="1854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1" name="Worksheet" r:id="rId77" imgW="15043113" imgH="3365573" progId="Excel.Sheet.12">
                  <p:link updateAutomatic="1"/>
                </p:oleObj>
              </mc:Choice>
              <mc:Fallback>
                <p:oleObj name="Worksheet" r:id="rId77" imgW="15043113" imgH="3365573" progId="Excel.Sheet.12">
                  <p:link updateAutomatic="1"/>
                  <p:pic>
                    <p:nvPicPr>
                      <p:cNvPr id="65" name="Objeto 64">
                        <a:extLst>
                          <a:ext uri="{FF2B5EF4-FFF2-40B4-BE49-F238E27FC236}">
                            <a16:creationId xmlns:a16="http://schemas.microsoft.com/office/drawing/2014/main" id="{1A70385A-40EC-2207-2A0E-E5303A34E3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8"/>
                      <a:stretch>
                        <a:fillRect/>
                      </a:stretch>
                    </p:blipFill>
                    <p:spPr>
                      <a:xfrm>
                        <a:off x="3617177" y="1214737"/>
                        <a:ext cx="8291373" cy="1854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2971293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Agenda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5FF0B1B-8139-4704-BC7C-5562D8965105}"/>
              </a:ext>
            </a:extLst>
          </p:cNvPr>
          <p:cNvSpPr txBox="1"/>
          <p:nvPr/>
        </p:nvSpPr>
        <p:spPr>
          <a:xfrm>
            <a:off x="818913" y="797572"/>
            <a:ext cx="11373087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spostas e Informes aos Conselheiros</a:t>
            </a:r>
          </a:p>
          <a:p>
            <a:pPr marL="457200" indent="-457200">
              <a:defRPr/>
            </a:pPr>
            <a:endParaRPr lang="pt-BR" sz="2400" dirty="0">
              <a:solidFill>
                <a:schemeClr val="bg1"/>
              </a:solidFill>
              <a:highlight>
                <a:srgbClr val="00969A"/>
              </a:highlight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Metas do Contrato de Gestão e RH – Luana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Demonstrativo de Resultados – Rosana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chemeClr val="bg1"/>
                </a:solidFill>
                <a:highlight>
                  <a:srgbClr val="00969A"/>
                </a:highlight>
                <a:latin typeface="Calibri"/>
              </a:rPr>
              <a:t>Atendimento ao Cliente e Experiência Paciente – Pedro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torno do Último Encontro: </a:t>
            </a:r>
          </a:p>
          <a:p>
            <a:pPr marL="457200" indent="-45720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lang="pt-BR" b="1" dirty="0">
                <a:solidFill>
                  <a:srgbClr val="008080"/>
                </a:solidFill>
                <a:latin typeface="Calibri"/>
              </a:rPr>
              <a:t>Luana: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 Apresentar os atendimentos realizados em outros municípios</a:t>
            </a:r>
          </a:p>
          <a:p>
            <a:pPr marL="457200" indent="-45720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lang="pt-BR" b="1" dirty="0">
                <a:solidFill>
                  <a:srgbClr val="008080"/>
                </a:solidFill>
                <a:latin typeface="Calibri"/>
              </a:rPr>
              <a:t>Dra. Mariana: 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Apresentar o fluxo do paciente agudo psiquiátrico</a:t>
            </a:r>
          </a:p>
          <a:p>
            <a:pPr marL="457200" lvl="0" indent="-45720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lang="pt-BR" b="1" dirty="0">
                <a:solidFill>
                  <a:srgbClr val="008080"/>
                </a:solidFill>
                <a:latin typeface="Calibri"/>
              </a:rPr>
              <a:t>Dr. Felipe: 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Apresentar tempo de higienização e </a:t>
            </a:r>
            <a:r>
              <a:rPr lang="pt-BR" dirty="0" err="1">
                <a:solidFill>
                  <a:srgbClr val="008080"/>
                </a:solidFill>
                <a:latin typeface="Calibri"/>
              </a:rPr>
              <a:t>Higipró</a:t>
            </a:r>
            <a:endParaRPr lang="pt-BR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lang="pt-BR" b="1" dirty="0">
                <a:solidFill>
                  <a:srgbClr val="008080"/>
                </a:solidFill>
                <a:latin typeface="Calibri"/>
              </a:rPr>
              <a:t>Camila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:</a:t>
            </a:r>
            <a:r>
              <a:rPr lang="pt-BR" dirty="0"/>
              <a:t> 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Verificação do hall de espera dos pacientes classificados em amarelo – referente a cadeiras de rodas</a:t>
            </a:r>
          </a:p>
          <a:p>
            <a:pPr marL="457200" lvl="0" indent="-45720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lang="pt-BR" b="1" dirty="0">
                <a:solidFill>
                  <a:srgbClr val="008080"/>
                </a:solidFill>
                <a:latin typeface="Calibri"/>
              </a:rPr>
              <a:t>Rose: 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Verificar a limpeza da placa “M’Boi” na fachada do Hospital</a:t>
            </a:r>
          </a:p>
          <a:p>
            <a:pPr>
              <a:defRPr/>
            </a:pPr>
            <a:endParaRPr lang="pt-BR" dirty="0">
              <a:solidFill>
                <a:srgbClr val="008080"/>
              </a:solidFill>
              <a:latin typeface="Calibri"/>
            </a:endParaRPr>
          </a:p>
          <a:p>
            <a:pPr>
              <a:defRPr/>
            </a:pPr>
            <a:endParaRPr lang="pt-BR" dirty="0">
              <a:solidFill>
                <a:srgbClr val="008080"/>
              </a:solidFill>
              <a:latin typeface="Calibri"/>
            </a:endParaRPr>
          </a:p>
          <a:p>
            <a:pPr lvl="0">
              <a:buSzPts val="1000"/>
              <a:tabLst>
                <a:tab pos="457200" algn="l"/>
              </a:tabLst>
              <a:defRPr/>
            </a:pPr>
            <a:endParaRPr lang="pt-BR" dirty="0">
              <a:solidFill>
                <a:srgbClr val="008080"/>
              </a:solidFill>
              <a:latin typeface="Calibri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pt-BR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920243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Agenda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5FF0B1B-8139-4704-BC7C-5562D8965105}"/>
              </a:ext>
            </a:extLst>
          </p:cNvPr>
          <p:cNvSpPr txBox="1"/>
          <p:nvPr/>
        </p:nvSpPr>
        <p:spPr>
          <a:xfrm>
            <a:off x="475386" y="797572"/>
            <a:ext cx="11373087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defRPr/>
            </a:pPr>
            <a:r>
              <a:rPr lang="pt-BR" sz="2400" dirty="0">
                <a:solidFill>
                  <a:schemeClr val="bg1"/>
                </a:solidFill>
                <a:highlight>
                  <a:srgbClr val="00969A"/>
                </a:highlight>
                <a:latin typeface="Calibri"/>
              </a:rPr>
              <a:t>Respostas e Informes aos Conselheiros</a:t>
            </a:r>
          </a:p>
          <a:p>
            <a:pPr marL="457200" indent="-457200">
              <a:defRPr/>
            </a:pPr>
            <a:endParaRPr lang="pt-BR" sz="2400" dirty="0">
              <a:solidFill>
                <a:schemeClr val="bg1"/>
              </a:solidFill>
              <a:highlight>
                <a:srgbClr val="00969A"/>
              </a:highlight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Metas do Contrato de Gestão e RH – Luana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Demonstrativo de Resultados – Alexandre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Atendimento ao Cliente e Experiência Paciente – Pedro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torno do Último Encontro: </a:t>
            </a:r>
          </a:p>
          <a:p>
            <a:pPr marL="457200" indent="-45720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lang="pt-BR" b="1" dirty="0">
                <a:solidFill>
                  <a:srgbClr val="008080"/>
                </a:solidFill>
                <a:latin typeface="Calibri"/>
              </a:rPr>
              <a:t>Luana: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 Apresentar os atendimentos realizados em outros municípios</a:t>
            </a:r>
          </a:p>
          <a:p>
            <a:pPr marL="457200" indent="-45720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lang="pt-BR" b="1" dirty="0">
                <a:solidFill>
                  <a:srgbClr val="008080"/>
                </a:solidFill>
                <a:latin typeface="Calibri"/>
              </a:rPr>
              <a:t>Dra. Mariana: 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Apresentar o fluxo do paciente agudo psiquiátrico</a:t>
            </a:r>
          </a:p>
          <a:p>
            <a:pPr marL="457200" lvl="0" indent="-45720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lang="pt-BR" b="1" dirty="0">
                <a:solidFill>
                  <a:srgbClr val="008080"/>
                </a:solidFill>
                <a:latin typeface="Calibri"/>
              </a:rPr>
              <a:t>Dr. Felipe: 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Apresentar tempo de higienização e </a:t>
            </a:r>
            <a:r>
              <a:rPr lang="pt-BR" dirty="0" err="1">
                <a:solidFill>
                  <a:srgbClr val="008080"/>
                </a:solidFill>
                <a:latin typeface="Calibri"/>
              </a:rPr>
              <a:t>Higipró</a:t>
            </a:r>
            <a:endParaRPr lang="pt-BR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lang="pt-BR" b="1" dirty="0">
                <a:solidFill>
                  <a:srgbClr val="008080"/>
                </a:solidFill>
                <a:latin typeface="Calibri"/>
              </a:rPr>
              <a:t>Camila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:</a:t>
            </a:r>
            <a:r>
              <a:rPr lang="pt-BR" dirty="0"/>
              <a:t> 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Verificação do hall de espera dos pacientes classificados em amarelo – referente a cadeiras de rodas</a:t>
            </a:r>
          </a:p>
          <a:p>
            <a:pPr marL="457200" lvl="0" indent="-45720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lang="pt-BR" b="1" dirty="0">
                <a:solidFill>
                  <a:srgbClr val="008080"/>
                </a:solidFill>
                <a:latin typeface="Calibri"/>
              </a:rPr>
              <a:t>Rose: 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Verificar a limpeza da placa “M’Boi” na fachada do Hospital</a:t>
            </a:r>
          </a:p>
          <a:p>
            <a:pPr>
              <a:defRPr/>
            </a:pPr>
            <a:r>
              <a:rPr lang="pt-BR" dirty="0">
                <a:solidFill>
                  <a:srgbClr val="008080"/>
                </a:solidFill>
                <a:latin typeface="Calibri"/>
              </a:rPr>
              <a:t>     </a:t>
            </a:r>
          </a:p>
          <a:p>
            <a:pPr>
              <a:defRPr/>
            </a:pPr>
            <a:endParaRPr lang="pt-BR" dirty="0">
              <a:solidFill>
                <a:srgbClr val="008080"/>
              </a:solidFill>
              <a:latin typeface="Calibri"/>
            </a:endParaRPr>
          </a:p>
          <a:p>
            <a:pPr lvl="0">
              <a:buSzPts val="1000"/>
              <a:tabLst>
                <a:tab pos="457200" algn="l"/>
              </a:tabLst>
              <a:defRPr/>
            </a:pPr>
            <a:endParaRPr lang="pt-BR" dirty="0">
              <a:solidFill>
                <a:srgbClr val="008080"/>
              </a:solidFill>
              <a:latin typeface="Calibri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pt-BR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5731456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1022912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Atendimento Ao Cliente | Manifestações Ouvidoria</a:t>
            </a: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553E34B5-D8B1-46CB-B4C5-4FF419839D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9484" y="574231"/>
            <a:ext cx="11357405" cy="2854769"/>
          </a:xfrm>
          <a:prstGeom prst="rect">
            <a:avLst/>
          </a:prstGeom>
        </p:spPr>
      </p:pic>
      <p:graphicFrame>
        <p:nvGraphicFramePr>
          <p:cNvPr id="9" name="Gráfico 8">
            <a:extLst>
              <a:ext uri="{FF2B5EF4-FFF2-40B4-BE49-F238E27FC236}">
                <a16:creationId xmlns:a16="http://schemas.microsoft.com/office/drawing/2014/main" id="{255FA21B-7987-432F-A442-83D1F931DE58}"/>
              </a:ext>
            </a:extLst>
          </p:cNvPr>
          <p:cNvGraphicFramePr>
            <a:graphicFrameLocks/>
          </p:cNvGraphicFramePr>
          <p:nvPr/>
        </p:nvGraphicFramePr>
        <p:xfrm>
          <a:off x="263352" y="3429000"/>
          <a:ext cx="9361040" cy="26846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87E916C6-00BF-4A80-AC1C-DEF0B1B9E093}"/>
              </a:ext>
            </a:extLst>
          </p:cNvPr>
          <p:cNvGraphicFramePr>
            <a:graphicFrameLocks noGrp="1"/>
          </p:cNvGraphicFramePr>
          <p:nvPr/>
        </p:nvGraphicFramePr>
        <p:xfrm>
          <a:off x="9336360" y="3717032"/>
          <a:ext cx="2736304" cy="1224136"/>
        </p:xfrm>
        <a:graphic>
          <a:graphicData uri="http://schemas.openxmlformats.org/drawingml/2006/table">
            <a:tbl>
              <a:tblPr/>
              <a:tblGrid>
                <a:gridCol w="2736304">
                  <a:extLst>
                    <a:ext uri="{9D8B030D-6E8A-4147-A177-3AD203B41FA5}">
                      <a16:colId xmlns:a16="http://schemas.microsoft.com/office/drawing/2014/main" val="1477882334"/>
                    </a:ext>
                  </a:extLst>
                </a:gridCol>
              </a:tblGrid>
              <a:tr h="306034"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édia de Manifestações por an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68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5168706"/>
                  </a:ext>
                </a:extLst>
              </a:tr>
              <a:tr h="306034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édia 2023 - 169,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8417699"/>
                  </a:ext>
                </a:extLst>
              </a:tr>
              <a:tr h="306034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édia 2024 - 142,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2887311"/>
                  </a:ext>
                </a:extLst>
              </a:tr>
              <a:tr h="306034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édia de 2025 - 149,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16256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838735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1022912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Atendimento Ao Conselho Gestor | Agosto 2025</a:t>
            </a: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1F8EB7E5-57D7-42DD-B211-96DE196E1D77}"/>
              </a:ext>
            </a:extLst>
          </p:cNvPr>
          <p:cNvGraphicFramePr>
            <a:graphicFrameLocks/>
          </p:cNvGraphicFramePr>
          <p:nvPr/>
        </p:nvGraphicFramePr>
        <p:xfrm>
          <a:off x="204446" y="3789040"/>
          <a:ext cx="8130990" cy="28799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Gráfico 10">
            <a:extLst>
              <a:ext uri="{FF2B5EF4-FFF2-40B4-BE49-F238E27FC236}">
                <a16:creationId xmlns:a16="http://schemas.microsoft.com/office/drawing/2014/main" id="{76261BAF-65BE-4069-AEBC-8EAE1C9F9DBB}"/>
              </a:ext>
            </a:extLst>
          </p:cNvPr>
          <p:cNvGraphicFramePr>
            <a:graphicFrameLocks/>
          </p:cNvGraphicFramePr>
          <p:nvPr/>
        </p:nvGraphicFramePr>
        <p:xfrm>
          <a:off x="204446" y="620688"/>
          <a:ext cx="11809312" cy="23627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" name="Tabela 1">
            <a:extLst>
              <a:ext uri="{FF2B5EF4-FFF2-40B4-BE49-F238E27FC236}">
                <a16:creationId xmlns:a16="http://schemas.microsoft.com/office/drawing/2014/main" id="{E8907024-6C8B-4A07-8ABD-79AE12E4B3BA}"/>
              </a:ext>
            </a:extLst>
          </p:cNvPr>
          <p:cNvGraphicFramePr>
            <a:graphicFrameLocks noGrp="1"/>
          </p:cNvGraphicFramePr>
          <p:nvPr/>
        </p:nvGraphicFramePr>
        <p:xfrm>
          <a:off x="7455042" y="3429000"/>
          <a:ext cx="4572000" cy="1080120"/>
        </p:xfrm>
        <a:graphic>
          <a:graphicData uri="http://schemas.openxmlformats.org/drawingml/2006/table">
            <a:tbl>
              <a:tblPr/>
              <a:tblGrid>
                <a:gridCol w="1205172">
                  <a:extLst>
                    <a:ext uri="{9D8B030D-6E8A-4147-A177-3AD203B41FA5}">
                      <a16:colId xmlns:a16="http://schemas.microsoft.com/office/drawing/2014/main" val="1787623327"/>
                    </a:ext>
                  </a:extLst>
                </a:gridCol>
                <a:gridCol w="1080828">
                  <a:extLst>
                    <a:ext uri="{9D8B030D-6E8A-4147-A177-3AD203B41FA5}">
                      <a16:colId xmlns:a16="http://schemas.microsoft.com/office/drawing/2014/main" val="2857429719"/>
                    </a:ext>
                  </a:extLst>
                </a:gridCol>
                <a:gridCol w="1080828">
                  <a:extLst>
                    <a:ext uri="{9D8B030D-6E8A-4147-A177-3AD203B41FA5}">
                      <a16:colId xmlns:a16="http://schemas.microsoft.com/office/drawing/2014/main" val="1186729367"/>
                    </a:ext>
                  </a:extLst>
                </a:gridCol>
                <a:gridCol w="1205172">
                  <a:extLst>
                    <a:ext uri="{9D8B030D-6E8A-4147-A177-3AD203B41FA5}">
                      <a16:colId xmlns:a16="http://schemas.microsoft.com/office/drawing/2014/main" val="1144985609"/>
                    </a:ext>
                  </a:extLst>
                </a:gridCol>
              </a:tblGrid>
              <a:tr h="41543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aior tempo de esper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62A3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686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enor tempo de esper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62A3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686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3703283"/>
                  </a:ext>
                </a:extLst>
              </a:tr>
              <a:tr h="284867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/08/202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62A3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2A3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:24: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2A3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08/20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62A3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2A3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0:00: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8768379"/>
                  </a:ext>
                </a:extLst>
              </a:tr>
              <a:tr h="37982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tivo: Supervisor Noturno, demandas variada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tivo: Atendimento Liderança Experiência da Saúde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01958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800575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1015711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Atendimento Ao Conselho Gestor | Agosto 2025</a:t>
            </a:r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E0A3A065-A331-42E7-90E2-3F91569437CD}"/>
              </a:ext>
            </a:extLst>
          </p:cNvPr>
          <p:cNvGraphicFramePr>
            <a:graphicFrameLocks/>
          </p:cNvGraphicFramePr>
          <p:nvPr/>
        </p:nvGraphicFramePr>
        <p:xfrm>
          <a:off x="335360" y="3900551"/>
          <a:ext cx="10081120" cy="25437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Gráfico 8">
            <a:extLst>
              <a:ext uri="{FF2B5EF4-FFF2-40B4-BE49-F238E27FC236}">
                <a16:creationId xmlns:a16="http://schemas.microsoft.com/office/drawing/2014/main" id="{4D668D68-A72D-4BEC-907C-40B41CE132B3}"/>
              </a:ext>
            </a:extLst>
          </p:cNvPr>
          <p:cNvGraphicFramePr>
            <a:graphicFrameLocks/>
          </p:cNvGraphicFramePr>
          <p:nvPr/>
        </p:nvGraphicFramePr>
        <p:xfrm>
          <a:off x="5246500" y="668324"/>
          <a:ext cx="6925210" cy="30406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Gráfico 9">
            <a:extLst>
              <a:ext uri="{FF2B5EF4-FFF2-40B4-BE49-F238E27FC236}">
                <a16:creationId xmlns:a16="http://schemas.microsoft.com/office/drawing/2014/main" id="{80E40503-5B9E-42DA-9A92-A2C89BF3A206}"/>
              </a:ext>
            </a:extLst>
          </p:cNvPr>
          <p:cNvGraphicFramePr>
            <a:graphicFrameLocks/>
          </p:cNvGraphicFramePr>
          <p:nvPr/>
        </p:nvGraphicFramePr>
        <p:xfrm>
          <a:off x="335360" y="668324"/>
          <a:ext cx="4890851" cy="3040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50861583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FBBEE001-0BA3-45D5-9793-AF0CE91B5B32}"/>
              </a:ext>
            </a:extLst>
          </p:cNvPr>
          <p:cNvSpPr/>
          <p:nvPr/>
        </p:nvSpPr>
        <p:spPr>
          <a:xfrm>
            <a:off x="0" y="216001"/>
            <a:ext cx="1087054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ATENDIMENTO AO CLIENTE</a:t>
            </a:r>
            <a:r>
              <a:rPr lang="pt-BR" sz="3200" b="1" dirty="0">
                <a:solidFill>
                  <a:srgbClr val="296D6B"/>
                </a:solidFill>
                <a:latin typeface="Eurostile"/>
              </a:rPr>
              <a:t> – </a:t>
            </a: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MANIFESTAÇÕES</a:t>
            </a:r>
            <a:r>
              <a:rPr lang="pt-BR" sz="3200" b="1" dirty="0">
                <a:solidFill>
                  <a:srgbClr val="296D6B"/>
                </a:solidFill>
                <a:latin typeface="Eurostile"/>
              </a:rPr>
              <a:t> </a:t>
            </a: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OUVIDORIA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F3CA2FEA-2EC1-48F7-8C5D-02586BD510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376" y="1124744"/>
            <a:ext cx="11158573" cy="4896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51892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883EE7D7-69DD-4432-BC0D-169B343233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070" y="94784"/>
            <a:ext cx="12069859" cy="6668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29792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70090" y="262512"/>
            <a:ext cx="6653916" cy="501175"/>
          </a:xfrm>
          <a:prstGeom prst="rect">
            <a:avLst/>
          </a:prstGeom>
        </p:spPr>
        <p:txBody>
          <a:bodyPr vert="horz" wrap="square" lIns="0" tIns="85165" rIns="0" bIns="0" rtlCol="0" anchor="ctr">
            <a:spAutoFit/>
          </a:bodyPr>
          <a:lstStyle/>
          <a:p>
            <a:pPr marL="435892">
              <a:spcBef>
                <a:spcPts val="61"/>
              </a:spcBef>
            </a:pPr>
            <a:r>
              <a:rPr sz="2698" spc="300" dirty="0">
                <a:solidFill>
                  <a:srgbClr val="084F92"/>
                </a:solidFill>
              </a:rPr>
              <a:t>Evolutivo</a:t>
            </a:r>
            <a:r>
              <a:rPr sz="2698" spc="161" dirty="0">
                <a:solidFill>
                  <a:srgbClr val="084F92"/>
                </a:solidFill>
              </a:rPr>
              <a:t> </a:t>
            </a:r>
            <a:r>
              <a:rPr sz="2698" spc="461" dirty="0">
                <a:solidFill>
                  <a:srgbClr val="084F92"/>
                </a:solidFill>
              </a:rPr>
              <a:t>NPS</a:t>
            </a:r>
            <a:r>
              <a:rPr sz="2698" spc="164" dirty="0">
                <a:solidFill>
                  <a:srgbClr val="084F92"/>
                </a:solidFill>
              </a:rPr>
              <a:t> </a:t>
            </a:r>
            <a:r>
              <a:rPr sz="2698" spc="321" dirty="0">
                <a:solidFill>
                  <a:srgbClr val="084F92"/>
                </a:solidFill>
              </a:rPr>
              <a:t>Ambulatório</a:t>
            </a:r>
            <a:r>
              <a:rPr sz="2698" spc="161" dirty="0">
                <a:solidFill>
                  <a:srgbClr val="084F92"/>
                </a:solidFill>
              </a:rPr>
              <a:t> </a:t>
            </a:r>
            <a:r>
              <a:rPr sz="2698" spc="215" dirty="0">
                <a:solidFill>
                  <a:srgbClr val="084F92"/>
                </a:solidFill>
              </a:rPr>
              <a:t>2025:</a:t>
            </a:r>
            <a:endParaRPr sz="2698"/>
          </a:p>
        </p:txBody>
      </p:sp>
      <p:grpSp>
        <p:nvGrpSpPr>
          <p:cNvPr id="3" name="object 3"/>
          <p:cNvGrpSpPr/>
          <p:nvPr/>
        </p:nvGrpSpPr>
        <p:grpSpPr>
          <a:xfrm>
            <a:off x="696085" y="2094591"/>
            <a:ext cx="10915040" cy="1696594"/>
            <a:chOff x="1147190" y="3454135"/>
            <a:chExt cx="17999710" cy="2797810"/>
          </a:xfrm>
        </p:grpSpPr>
        <p:sp>
          <p:nvSpPr>
            <p:cNvPr id="4" name="object 4"/>
            <p:cNvSpPr/>
            <p:nvPr/>
          </p:nvSpPr>
          <p:spPr>
            <a:xfrm>
              <a:off x="1480159" y="3454139"/>
              <a:ext cx="5332730" cy="2792095"/>
            </a:xfrm>
            <a:custGeom>
              <a:avLst/>
              <a:gdLst/>
              <a:ahLst/>
              <a:cxnLst/>
              <a:rect l="l" t="t" r="r" b="b"/>
              <a:pathLst>
                <a:path w="5332730" h="2792095">
                  <a:moveTo>
                    <a:pt x="833056" y="0"/>
                  </a:moveTo>
                  <a:lnTo>
                    <a:pt x="0" y="0"/>
                  </a:lnTo>
                  <a:lnTo>
                    <a:pt x="0" y="2791955"/>
                  </a:lnTo>
                  <a:lnTo>
                    <a:pt x="833056" y="2791955"/>
                  </a:lnTo>
                  <a:lnTo>
                    <a:pt x="833056" y="0"/>
                  </a:lnTo>
                  <a:close/>
                </a:path>
                <a:path w="5332730" h="2792095">
                  <a:moveTo>
                    <a:pt x="2333333" y="185966"/>
                  </a:moveTo>
                  <a:lnTo>
                    <a:pt x="1500263" y="185966"/>
                  </a:lnTo>
                  <a:lnTo>
                    <a:pt x="1500263" y="2791955"/>
                  </a:lnTo>
                  <a:lnTo>
                    <a:pt x="2333333" y="2791955"/>
                  </a:lnTo>
                  <a:lnTo>
                    <a:pt x="2333333" y="185966"/>
                  </a:lnTo>
                  <a:close/>
                </a:path>
                <a:path w="5332730" h="2792095">
                  <a:moveTo>
                    <a:pt x="3833596" y="360616"/>
                  </a:moveTo>
                  <a:lnTo>
                    <a:pt x="2999282" y="360616"/>
                  </a:lnTo>
                  <a:lnTo>
                    <a:pt x="2999282" y="2791955"/>
                  </a:lnTo>
                  <a:lnTo>
                    <a:pt x="3833596" y="2791955"/>
                  </a:lnTo>
                  <a:lnTo>
                    <a:pt x="3833596" y="360616"/>
                  </a:lnTo>
                  <a:close/>
                </a:path>
                <a:path w="5332730" h="2792095">
                  <a:moveTo>
                    <a:pt x="5332615" y="211099"/>
                  </a:moveTo>
                  <a:lnTo>
                    <a:pt x="4499546" y="211099"/>
                  </a:lnTo>
                  <a:lnTo>
                    <a:pt x="4499546" y="2791955"/>
                  </a:lnTo>
                  <a:lnTo>
                    <a:pt x="5332615" y="2791955"/>
                  </a:lnTo>
                  <a:lnTo>
                    <a:pt x="5332615" y="211099"/>
                  </a:lnTo>
                  <a:close/>
                </a:path>
              </a:pathLst>
            </a:custGeom>
            <a:solidFill>
              <a:srgbClr val="0994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5" name="object 5"/>
            <p:cNvSpPr/>
            <p:nvPr/>
          </p:nvSpPr>
          <p:spPr>
            <a:xfrm>
              <a:off x="1147190" y="6246092"/>
              <a:ext cx="17999710" cy="0"/>
            </a:xfrm>
            <a:custGeom>
              <a:avLst/>
              <a:gdLst/>
              <a:ahLst/>
              <a:cxnLst/>
              <a:rect l="l" t="t" r="r" b="b"/>
              <a:pathLst>
                <a:path w="17999710">
                  <a:moveTo>
                    <a:pt x="0" y="0"/>
                  </a:moveTo>
                  <a:lnTo>
                    <a:pt x="17999451" y="0"/>
                  </a:lnTo>
                </a:path>
              </a:pathLst>
            </a:custGeom>
            <a:ln w="1047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986432" y="1779698"/>
            <a:ext cx="359650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spcBef>
                <a:spcPts val="64"/>
              </a:spcBef>
            </a:pPr>
            <a:r>
              <a:rPr sz="1395" spc="-12" dirty="0">
                <a:latin typeface="Trebuchet MS"/>
                <a:cs typeface="Trebuchet MS"/>
              </a:rPr>
              <a:t>69.0</a:t>
            </a:r>
            <a:endParaRPr sz="1395">
              <a:latin typeface="Trebuchet MS"/>
              <a:cs typeface="Trebuchet M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880068" y="1980217"/>
            <a:ext cx="359650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spcBef>
                <a:spcPts val="64"/>
              </a:spcBef>
            </a:pPr>
            <a:r>
              <a:rPr sz="1395" spc="-12" dirty="0">
                <a:latin typeface="Trebuchet MS"/>
                <a:cs typeface="Trebuchet MS"/>
              </a:rPr>
              <a:t>64.4</a:t>
            </a:r>
            <a:endParaRPr sz="1395">
              <a:latin typeface="Trebuchet MS"/>
              <a:cs typeface="Trebuchet MS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789705" y="2043776"/>
            <a:ext cx="359650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spcBef>
                <a:spcPts val="64"/>
              </a:spcBef>
            </a:pPr>
            <a:r>
              <a:rPr sz="1395" spc="-12" dirty="0">
                <a:latin typeface="Trebuchet MS"/>
                <a:cs typeface="Trebuchet MS"/>
              </a:rPr>
              <a:t>60.1</a:t>
            </a:r>
            <a:endParaRPr sz="1395">
              <a:latin typeface="Trebuchet MS"/>
              <a:cs typeface="Trebuchet MS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3686643" y="1953422"/>
            <a:ext cx="359650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spcBef>
                <a:spcPts val="64"/>
              </a:spcBef>
            </a:pPr>
            <a:r>
              <a:rPr sz="1395" spc="-12" dirty="0">
                <a:latin typeface="Trebuchet MS"/>
                <a:cs typeface="Trebuchet MS"/>
              </a:rPr>
              <a:t>63.8</a:t>
            </a:r>
            <a:endParaRPr sz="1395">
              <a:latin typeface="Trebuchet MS"/>
              <a:cs typeface="Trebuchet MS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453597" y="3838286"/>
            <a:ext cx="1354657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  <a:tabLst>
                <a:tab pos="980373" algn="l"/>
              </a:tabLst>
            </a:pPr>
            <a:r>
              <a:rPr sz="2001" spc="293" dirty="0">
                <a:solidFill>
                  <a:srgbClr val="F1F1F1"/>
                </a:solidFill>
                <a:latin typeface="Calibri"/>
                <a:cs typeface="Calibri"/>
              </a:rPr>
              <a:t>Jun</a:t>
            </a:r>
            <a:r>
              <a:rPr sz="2001" dirty="0">
                <a:solidFill>
                  <a:srgbClr val="F1F1F1"/>
                </a:solidFill>
                <a:latin typeface="Calibri"/>
                <a:cs typeface="Calibri"/>
              </a:rPr>
              <a:t>	</a:t>
            </a:r>
            <a:r>
              <a:rPr sz="2001" spc="221" dirty="0">
                <a:solidFill>
                  <a:srgbClr val="F1F1F1"/>
                </a:solidFill>
                <a:latin typeface="Calibri"/>
                <a:cs typeface="Calibri"/>
              </a:rPr>
              <a:t>Jul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998813" y="3775369"/>
            <a:ext cx="490957" cy="727374"/>
          </a:xfrm>
          <a:prstGeom prst="rect">
            <a:avLst/>
          </a:prstGeom>
        </p:spPr>
        <p:txBody>
          <a:bodyPr vert="horz" wrap="square" lIns="0" tIns="59685" rIns="0" bIns="0" rtlCol="0">
            <a:spAutoFit/>
          </a:bodyPr>
          <a:lstStyle/>
          <a:p>
            <a:pPr marL="34271">
              <a:spcBef>
                <a:spcPts val="470"/>
              </a:spcBef>
            </a:pPr>
            <a:r>
              <a:rPr sz="2001" spc="273" dirty="0">
                <a:solidFill>
                  <a:srgbClr val="0D0D0D"/>
                </a:solidFill>
                <a:latin typeface="Calibri"/>
                <a:cs typeface="Calibri"/>
              </a:rPr>
              <a:t>Jan</a:t>
            </a:r>
            <a:endParaRPr sz="2001">
              <a:latin typeface="Calibri"/>
              <a:cs typeface="Calibri"/>
            </a:endParaRPr>
          </a:p>
          <a:p>
            <a:pPr marL="7701">
              <a:spcBef>
                <a:spcPts val="412"/>
              </a:spcBef>
            </a:pPr>
            <a:r>
              <a:rPr sz="2001" b="1" spc="85" dirty="0">
                <a:solidFill>
                  <a:srgbClr val="0D0D0D"/>
                </a:solidFill>
                <a:latin typeface="Calibri"/>
                <a:cs typeface="Calibri"/>
              </a:rPr>
              <a:t>168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558945" y="3842541"/>
            <a:ext cx="475940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139" dirty="0">
                <a:solidFill>
                  <a:srgbClr val="F1F1F1"/>
                </a:solidFill>
                <a:latin typeface="Calibri"/>
                <a:cs typeface="Calibri"/>
              </a:rPr>
              <a:t>Mai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769268" y="3775693"/>
            <a:ext cx="1427049" cy="704568"/>
          </a:xfrm>
          <a:prstGeom prst="rect">
            <a:avLst/>
          </a:prstGeom>
        </p:spPr>
        <p:txBody>
          <a:bodyPr vert="horz" wrap="square" lIns="0" tIns="49673" rIns="0" bIns="0" rtlCol="0">
            <a:spAutoFit/>
          </a:bodyPr>
          <a:lstStyle/>
          <a:p>
            <a:pPr marL="69697">
              <a:spcBef>
                <a:spcPts val="391"/>
              </a:spcBef>
              <a:tabLst>
                <a:tab pos="925309" algn="l"/>
              </a:tabLst>
            </a:pPr>
            <a:r>
              <a:rPr sz="2001" spc="227" dirty="0">
                <a:solidFill>
                  <a:srgbClr val="252525"/>
                </a:solidFill>
                <a:latin typeface="Calibri"/>
                <a:cs typeface="Calibri"/>
              </a:rPr>
              <a:t>Fev</a:t>
            </a:r>
            <a:r>
              <a:rPr sz="2001" dirty="0">
                <a:solidFill>
                  <a:srgbClr val="252525"/>
                </a:solidFill>
                <a:latin typeface="Calibri"/>
                <a:cs typeface="Calibri"/>
              </a:rPr>
              <a:t>	</a:t>
            </a:r>
            <a:r>
              <a:rPr sz="3002" spc="227" baseline="-1683" dirty="0">
                <a:latin typeface="Calibri"/>
                <a:cs typeface="Calibri"/>
              </a:rPr>
              <a:t>Mar</a:t>
            </a:r>
            <a:endParaRPr sz="3002" baseline="-1683">
              <a:latin typeface="Calibri"/>
              <a:cs typeface="Calibri"/>
            </a:endParaRPr>
          </a:p>
          <a:p>
            <a:pPr marL="7701">
              <a:spcBef>
                <a:spcPts val="334"/>
              </a:spcBef>
              <a:tabLst>
                <a:tab pos="959965" algn="l"/>
              </a:tabLst>
            </a:pPr>
            <a:r>
              <a:rPr sz="2001" b="1" spc="64" dirty="0">
                <a:solidFill>
                  <a:srgbClr val="0D0D0D"/>
                </a:solidFill>
                <a:latin typeface="Calibri"/>
                <a:cs typeface="Calibri"/>
              </a:rPr>
              <a:t>176</a:t>
            </a:r>
            <a:r>
              <a:rPr sz="2001" b="1" dirty="0">
                <a:solidFill>
                  <a:srgbClr val="0D0D0D"/>
                </a:solidFill>
                <a:latin typeface="Calibri"/>
                <a:cs typeface="Calibri"/>
              </a:rPr>
              <a:t>	</a:t>
            </a:r>
            <a:r>
              <a:rPr sz="2001" b="1" spc="45" dirty="0">
                <a:solidFill>
                  <a:srgbClr val="0D0D0D"/>
                </a:solidFill>
                <a:latin typeface="Calibri"/>
                <a:cs typeface="Calibri"/>
              </a:rPr>
              <a:t>193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7238838" y="3792888"/>
            <a:ext cx="530619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278" dirty="0">
                <a:solidFill>
                  <a:srgbClr val="F1F1F1"/>
                </a:solidFill>
                <a:latin typeface="Calibri"/>
                <a:cs typeface="Calibri"/>
              </a:rPr>
              <a:t>Ago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582129" y="3831125"/>
            <a:ext cx="519067" cy="673730"/>
          </a:xfrm>
          <a:prstGeom prst="rect">
            <a:avLst/>
          </a:prstGeom>
        </p:spPr>
        <p:txBody>
          <a:bodyPr vert="horz" wrap="square" lIns="0" tIns="31960" rIns="0" bIns="0" rtlCol="0">
            <a:spAutoFit/>
          </a:bodyPr>
          <a:lstStyle/>
          <a:p>
            <a:pPr marL="54679">
              <a:spcBef>
                <a:spcPts val="252"/>
              </a:spcBef>
            </a:pPr>
            <a:r>
              <a:rPr sz="2001" spc="206" dirty="0">
                <a:latin typeface="Calibri"/>
                <a:cs typeface="Calibri"/>
              </a:rPr>
              <a:t>Abr</a:t>
            </a:r>
            <a:endParaRPr sz="2001">
              <a:latin typeface="Calibri"/>
              <a:cs typeface="Calibri"/>
            </a:endParaRPr>
          </a:p>
          <a:p>
            <a:pPr marL="7701">
              <a:spcBef>
                <a:spcPts val="191"/>
              </a:spcBef>
            </a:pPr>
            <a:r>
              <a:rPr sz="2001" b="1" spc="76" dirty="0">
                <a:solidFill>
                  <a:srgbClr val="0D0D0D"/>
                </a:solidFill>
                <a:latin typeface="Calibri"/>
                <a:cs typeface="Calibri"/>
              </a:rPr>
              <a:t>199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205748" y="3826540"/>
            <a:ext cx="427807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197" dirty="0">
                <a:solidFill>
                  <a:srgbClr val="F1F1F1"/>
                </a:solidFill>
                <a:latin typeface="Calibri"/>
                <a:cs typeface="Calibri"/>
              </a:rPr>
              <a:t>Set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70804" y="4240278"/>
            <a:ext cx="202544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124" dirty="0">
                <a:solidFill>
                  <a:srgbClr val="5E5E5E"/>
                </a:solidFill>
                <a:latin typeface="Calibri"/>
                <a:cs typeface="Calibri"/>
              </a:rPr>
              <a:t>N°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9108336" y="3838287"/>
            <a:ext cx="2257249" cy="315420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  <a:tabLst>
                <a:tab pos="909521" algn="l"/>
                <a:tab pos="1756662" algn="l"/>
              </a:tabLst>
            </a:pPr>
            <a:r>
              <a:rPr sz="3002" spc="355" baseline="1683" dirty="0">
                <a:solidFill>
                  <a:srgbClr val="F1F1F1"/>
                </a:solidFill>
                <a:latin typeface="Calibri"/>
                <a:cs typeface="Calibri"/>
              </a:rPr>
              <a:t>Out</a:t>
            </a:r>
            <a:r>
              <a:rPr sz="3002" baseline="1683" dirty="0">
                <a:solidFill>
                  <a:srgbClr val="F1F1F1"/>
                </a:solidFill>
                <a:latin typeface="Calibri"/>
                <a:cs typeface="Calibri"/>
              </a:rPr>
              <a:t>	</a:t>
            </a:r>
            <a:r>
              <a:rPr sz="2001" spc="143" dirty="0">
                <a:solidFill>
                  <a:srgbClr val="F1F1F1"/>
                </a:solidFill>
                <a:latin typeface="Calibri"/>
                <a:cs typeface="Calibri"/>
              </a:rPr>
              <a:t>Nov</a:t>
            </a:r>
            <a:r>
              <a:rPr sz="2001" spc="143" dirty="0">
                <a:solidFill>
                  <a:srgbClr val="CCCCCC"/>
                </a:solidFill>
                <a:latin typeface="Calibri"/>
                <a:cs typeface="Calibri"/>
              </a:rPr>
              <a:t>.</a:t>
            </a:r>
            <a:r>
              <a:rPr sz="2001" dirty="0">
                <a:solidFill>
                  <a:srgbClr val="CCCCCC"/>
                </a:solidFill>
                <a:latin typeface="Calibri"/>
                <a:cs typeface="Calibri"/>
              </a:rPr>
              <a:t>	</a:t>
            </a:r>
            <a:r>
              <a:rPr sz="2001" spc="261" dirty="0">
                <a:solidFill>
                  <a:srgbClr val="F1F1F1"/>
                </a:solidFill>
                <a:latin typeface="Calibri"/>
                <a:cs typeface="Calibri"/>
              </a:rPr>
              <a:t>Dez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0145982" y="1163727"/>
            <a:ext cx="1439756" cy="284274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spcBef>
                <a:spcPts val="69"/>
              </a:spcBef>
            </a:pPr>
            <a:r>
              <a:rPr sz="1789" b="1" spc="206" dirty="0">
                <a:solidFill>
                  <a:srgbClr val="1B170F"/>
                </a:solidFill>
                <a:latin typeface="Calibri"/>
                <a:cs typeface="Calibri"/>
              </a:rPr>
              <a:t>YTD:</a:t>
            </a:r>
            <a:r>
              <a:rPr sz="1789" b="1" spc="109" dirty="0">
                <a:solidFill>
                  <a:srgbClr val="1B170F"/>
                </a:solidFill>
                <a:latin typeface="Calibri"/>
                <a:cs typeface="Calibri"/>
              </a:rPr>
              <a:t> </a:t>
            </a:r>
            <a:r>
              <a:rPr sz="1789" b="1" spc="203" dirty="0">
                <a:solidFill>
                  <a:srgbClr val="1B170F"/>
                </a:solidFill>
                <a:latin typeface="Calibri"/>
                <a:cs typeface="Calibri"/>
              </a:rPr>
              <a:t>64,3pp</a:t>
            </a:r>
            <a:endParaRPr sz="1789">
              <a:latin typeface="Calibri"/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567386" y="732593"/>
            <a:ext cx="2219127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spc="167" dirty="0">
                <a:solidFill>
                  <a:srgbClr val="5E5E5E"/>
                </a:solidFill>
                <a:latin typeface="Calibri"/>
                <a:cs typeface="Calibri"/>
              </a:rPr>
              <a:t>Queda</a:t>
            </a:r>
            <a:r>
              <a:rPr sz="1182" spc="36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54" dirty="0">
                <a:solidFill>
                  <a:srgbClr val="5E5E5E"/>
                </a:solidFill>
                <a:latin typeface="Calibri"/>
                <a:cs typeface="Calibri"/>
              </a:rPr>
              <a:t>do</a:t>
            </a:r>
            <a:r>
              <a:rPr sz="1182" spc="5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209" dirty="0">
                <a:solidFill>
                  <a:srgbClr val="5E5E5E"/>
                </a:solidFill>
                <a:latin typeface="Calibri"/>
                <a:cs typeface="Calibri"/>
              </a:rPr>
              <a:t>NPS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58" dirty="0">
                <a:solidFill>
                  <a:srgbClr val="5E5E5E"/>
                </a:solidFill>
                <a:latin typeface="Calibri"/>
                <a:cs typeface="Calibri"/>
              </a:rPr>
              <a:t>de</a:t>
            </a:r>
            <a:r>
              <a:rPr sz="1182" spc="4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33" dirty="0">
                <a:solidFill>
                  <a:srgbClr val="5E5E5E"/>
                </a:solidFill>
                <a:latin typeface="Calibri"/>
                <a:cs typeface="Calibri"/>
              </a:rPr>
              <a:t>3,3</a:t>
            </a:r>
            <a:r>
              <a:rPr sz="1182" spc="5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06" dirty="0">
                <a:solidFill>
                  <a:srgbClr val="5E5E5E"/>
                </a:solidFill>
                <a:latin typeface="Calibri"/>
                <a:cs typeface="Calibri"/>
              </a:rPr>
              <a:t>pontos.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12013798" y="5138468"/>
            <a:ext cx="177900" cy="1719313"/>
          </a:xfrm>
          <a:custGeom>
            <a:avLst/>
            <a:gdLst/>
            <a:ahLst/>
            <a:cxnLst/>
            <a:rect l="l" t="t" r="r" b="b"/>
            <a:pathLst>
              <a:path w="293369" h="2835275">
                <a:moveTo>
                  <a:pt x="293162" y="0"/>
                </a:moveTo>
                <a:lnTo>
                  <a:pt x="0" y="2834843"/>
                </a:lnTo>
                <a:lnTo>
                  <a:pt x="293162" y="2834843"/>
                </a:lnTo>
                <a:lnTo>
                  <a:pt x="293162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grpSp>
        <p:nvGrpSpPr>
          <p:cNvPr id="22" name="object 22"/>
          <p:cNvGrpSpPr/>
          <p:nvPr/>
        </p:nvGrpSpPr>
        <p:grpSpPr>
          <a:xfrm>
            <a:off x="10890929" y="0"/>
            <a:ext cx="1166360" cy="762043"/>
            <a:chOff x="17959243" y="0"/>
            <a:chExt cx="1923414" cy="1256665"/>
          </a:xfrm>
        </p:grpSpPr>
        <p:pic>
          <p:nvPicPr>
            <p:cNvPr id="23" name="object 2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9219151" y="274258"/>
              <a:ext cx="663319" cy="662990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7959243" y="0"/>
              <a:ext cx="1257762" cy="1256506"/>
            </a:xfrm>
            <a:prstGeom prst="rect">
              <a:avLst/>
            </a:prstGeom>
          </p:spPr>
        </p:pic>
      </p:grpSp>
      <p:grpSp>
        <p:nvGrpSpPr>
          <p:cNvPr id="25" name="object 25"/>
          <p:cNvGrpSpPr/>
          <p:nvPr/>
        </p:nvGrpSpPr>
        <p:grpSpPr>
          <a:xfrm>
            <a:off x="-4334" y="-4762"/>
            <a:ext cx="166733" cy="1489430"/>
            <a:chOff x="-7853" y="-7853"/>
            <a:chExt cx="274955" cy="2456180"/>
          </a:xfrm>
        </p:grpSpPr>
        <p:sp>
          <p:nvSpPr>
            <p:cNvPr id="26" name="object 26"/>
            <p:cNvSpPr/>
            <p:nvPr/>
          </p:nvSpPr>
          <p:spPr>
            <a:xfrm>
              <a:off x="0" y="0"/>
              <a:ext cx="259079" cy="2440305"/>
            </a:xfrm>
            <a:custGeom>
              <a:avLst/>
              <a:gdLst/>
              <a:ahLst/>
              <a:cxnLst/>
              <a:rect l="l" t="t" r="r" b="b"/>
              <a:pathLst>
                <a:path w="259079" h="2440305">
                  <a:moveTo>
                    <a:pt x="258740" y="0"/>
                  </a:moveTo>
                  <a:lnTo>
                    <a:pt x="0" y="0"/>
                  </a:lnTo>
                  <a:lnTo>
                    <a:pt x="0" y="2440138"/>
                  </a:lnTo>
                  <a:lnTo>
                    <a:pt x="258740" y="0"/>
                  </a:lnTo>
                  <a:close/>
                </a:path>
              </a:pathLst>
            </a:custGeom>
            <a:solidFill>
              <a:srgbClr val="2A928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7" name="object 27"/>
            <p:cNvSpPr/>
            <p:nvPr/>
          </p:nvSpPr>
          <p:spPr>
            <a:xfrm>
              <a:off x="0" y="0"/>
              <a:ext cx="259079" cy="2440305"/>
            </a:xfrm>
            <a:custGeom>
              <a:avLst/>
              <a:gdLst/>
              <a:ahLst/>
              <a:cxnLst/>
              <a:rect l="l" t="t" r="r" b="b"/>
              <a:pathLst>
                <a:path w="259079" h="2440305">
                  <a:moveTo>
                    <a:pt x="258740" y="0"/>
                  </a:moveTo>
                  <a:lnTo>
                    <a:pt x="0" y="2440138"/>
                  </a:lnTo>
                </a:path>
              </a:pathLst>
            </a:custGeom>
            <a:ln w="15706">
              <a:solidFill>
                <a:srgbClr val="004B4D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graphicFrame>
        <p:nvGraphicFramePr>
          <p:cNvPr id="28" name="object 28"/>
          <p:cNvGraphicFramePr>
            <a:graphicFrameLocks noGrp="1"/>
          </p:cNvGraphicFramePr>
          <p:nvPr/>
        </p:nvGraphicFramePr>
        <p:xfrm>
          <a:off x="91982" y="5382517"/>
          <a:ext cx="11557324" cy="111630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61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92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62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676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764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8256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8345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1953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5022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6100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7382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907597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96728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26920">
                <a:tc>
                  <a:txBody>
                    <a:bodyPr/>
                    <a:lstStyle/>
                    <a:p>
                      <a:pPr marR="40640" algn="ctr">
                        <a:lnSpc>
                          <a:spcPct val="100000"/>
                        </a:lnSpc>
                        <a:spcBef>
                          <a:spcPts val="1090"/>
                        </a:spcBef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Promotor</a:t>
                      </a:r>
                      <a:r>
                        <a:rPr sz="1000" spc="-8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8394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0EEAE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78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0D0D0D"/>
                          </a:solidFill>
                          <a:latin typeface="Calibri"/>
                          <a:cs typeface="Calibri"/>
                        </a:rPr>
                        <a:t>74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72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76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62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61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68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67,8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71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66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69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5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8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017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90"/>
                        </a:spcBef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R="39370" algn="ctr">
                        <a:lnSpc>
                          <a:spcPct val="100000"/>
                        </a:lnSpc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Neutro</a:t>
                      </a:r>
                      <a:r>
                        <a:rPr sz="10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14632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F7D5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12,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0D0D0D"/>
                          </a:solidFill>
                          <a:latin typeface="Calibri"/>
                          <a:cs typeface="Calibri"/>
                        </a:rPr>
                        <a:t>14,8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15,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10,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8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21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7,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8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20,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6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23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5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9207">
                <a:tc>
                  <a:txBody>
                    <a:bodyPr/>
                    <a:lstStyle/>
                    <a:p>
                      <a:pPr marR="41275" algn="ctr">
                        <a:lnSpc>
                          <a:spcPct val="100000"/>
                        </a:lnSpc>
                        <a:spcBef>
                          <a:spcPts val="975"/>
                        </a:spcBef>
                      </a:pPr>
                      <a:r>
                        <a:rPr sz="1000" spc="-10" dirty="0">
                          <a:latin typeface="Calibri"/>
                          <a:cs typeface="Calibri"/>
                        </a:rPr>
                        <a:t>Detrator</a:t>
                      </a:r>
                      <a:r>
                        <a:rPr sz="10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75088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C1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5" dirty="0">
                          <a:latin typeface="Calibri"/>
                          <a:cs typeface="Calibri"/>
                        </a:rPr>
                        <a:t>9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0D0D0D"/>
                          </a:solidFill>
                          <a:latin typeface="Calibri"/>
                          <a:cs typeface="Calibri"/>
                        </a:rPr>
                        <a:t>10,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12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13,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8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7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4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3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5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8,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6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5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5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9" name="object 29"/>
          <p:cNvGraphicFramePr>
            <a:graphicFrameLocks noGrp="1"/>
          </p:cNvGraphicFramePr>
          <p:nvPr/>
        </p:nvGraphicFramePr>
        <p:xfrm>
          <a:off x="91982" y="4868775"/>
          <a:ext cx="11518432" cy="60998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61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92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62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676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686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0374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6266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3031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6138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5099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6420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91876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92531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13057">
                <a:tc>
                  <a:txBody>
                    <a:bodyPr/>
                    <a:lstStyle/>
                    <a:p>
                      <a:pPr marL="331470" marR="211454" indent="-113664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Margem</a:t>
                      </a:r>
                      <a:r>
                        <a:rPr sz="1000" spc="-4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de </a:t>
                      </a:r>
                      <a:r>
                        <a:rPr sz="10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rro</a:t>
                      </a:r>
                      <a:r>
                        <a:rPr sz="1000" spc="-7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(pp</a:t>
                      </a:r>
                      <a:r>
                        <a:rPr sz="1000" spc="-20" dirty="0">
                          <a:latin typeface="Calibri"/>
                          <a:cs typeface="Calibri"/>
                        </a:rPr>
                        <a:t>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3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5" dirty="0">
                          <a:latin typeface="Calibri"/>
                          <a:cs typeface="Calibri"/>
                        </a:rPr>
                        <a:t>7,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5" dirty="0">
                          <a:solidFill>
                            <a:srgbClr val="0D0D0D"/>
                          </a:solidFill>
                          <a:latin typeface="Calibri"/>
                          <a:cs typeface="Calibri"/>
                        </a:rPr>
                        <a:t>7,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5" dirty="0">
                          <a:latin typeface="Calibri"/>
                          <a:cs typeface="Calibri"/>
                        </a:rPr>
                        <a:t>6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5" dirty="0">
                          <a:latin typeface="Calibri"/>
                          <a:cs typeface="Calibri"/>
                        </a:rPr>
                        <a:t>6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5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8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0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0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2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5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1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1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3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30" name="Imagem 29">
            <a:extLst>
              <a:ext uri="{FF2B5EF4-FFF2-40B4-BE49-F238E27FC236}">
                <a16:creationId xmlns:a16="http://schemas.microsoft.com/office/drawing/2014/main" id="{939EBB78-1B0D-47AF-BD6C-91CFA517AC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833" y="75732"/>
            <a:ext cx="12060333" cy="6706536"/>
          </a:xfrm>
          <a:prstGeom prst="rect">
            <a:avLst/>
          </a:prstGeom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70090" y="50948"/>
            <a:ext cx="6653916" cy="924303"/>
          </a:xfrm>
          <a:prstGeom prst="rect">
            <a:avLst/>
          </a:prstGeom>
        </p:spPr>
        <p:txBody>
          <a:bodyPr vert="horz" wrap="square" lIns="0" tIns="93039" rIns="0" bIns="0" rtlCol="0" anchor="ctr">
            <a:spAutoFit/>
          </a:bodyPr>
          <a:lstStyle/>
          <a:p>
            <a:pPr marL="474399">
              <a:spcBef>
                <a:spcPts val="61"/>
              </a:spcBef>
            </a:pPr>
            <a:r>
              <a:rPr sz="2698" spc="300" dirty="0">
                <a:solidFill>
                  <a:srgbClr val="084F92"/>
                </a:solidFill>
              </a:rPr>
              <a:t>Evolutivo</a:t>
            </a:r>
            <a:r>
              <a:rPr sz="2698" spc="158" dirty="0">
                <a:solidFill>
                  <a:srgbClr val="084F92"/>
                </a:solidFill>
              </a:rPr>
              <a:t> </a:t>
            </a:r>
            <a:r>
              <a:rPr sz="2698" spc="461" dirty="0">
                <a:solidFill>
                  <a:srgbClr val="084F92"/>
                </a:solidFill>
              </a:rPr>
              <a:t>NPS</a:t>
            </a:r>
            <a:r>
              <a:rPr sz="2698" spc="161" dirty="0">
                <a:solidFill>
                  <a:srgbClr val="084F92"/>
                </a:solidFill>
              </a:rPr>
              <a:t> </a:t>
            </a:r>
            <a:r>
              <a:rPr sz="2698" spc="330" dirty="0">
                <a:solidFill>
                  <a:srgbClr val="084F92"/>
                </a:solidFill>
              </a:rPr>
              <a:t>Pronto</a:t>
            </a:r>
            <a:r>
              <a:rPr sz="2698" spc="149" dirty="0">
                <a:solidFill>
                  <a:srgbClr val="084F92"/>
                </a:solidFill>
              </a:rPr>
              <a:t> </a:t>
            </a:r>
            <a:r>
              <a:rPr sz="2698" spc="321" dirty="0">
                <a:solidFill>
                  <a:srgbClr val="084F92"/>
                </a:solidFill>
              </a:rPr>
              <a:t>Socorro</a:t>
            </a:r>
            <a:r>
              <a:rPr sz="2698" spc="167" dirty="0">
                <a:solidFill>
                  <a:srgbClr val="084F92"/>
                </a:solidFill>
              </a:rPr>
              <a:t> </a:t>
            </a:r>
            <a:r>
              <a:rPr sz="2698" spc="212" dirty="0">
                <a:solidFill>
                  <a:srgbClr val="084F92"/>
                </a:solidFill>
              </a:rPr>
              <a:t>-</a:t>
            </a:r>
            <a:r>
              <a:rPr sz="2698" spc="161" dirty="0">
                <a:solidFill>
                  <a:srgbClr val="084F92"/>
                </a:solidFill>
              </a:rPr>
              <a:t> </a:t>
            </a:r>
            <a:r>
              <a:rPr sz="2698" spc="212" dirty="0">
                <a:solidFill>
                  <a:srgbClr val="084F92"/>
                </a:solidFill>
              </a:rPr>
              <a:t>2025:</a:t>
            </a:r>
            <a:endParaRPr sz="2698"/>
          </a:p>
        </p:txBody>
      </p:sp>
      <p:grpSp>
        <p:nvGrpSpPr>
          <p:cNvPr id="3" name="object 3"/>
          <p:cNvGrpSpPr/>
          <p:nvPr/>
        </p:nvGrpSpPr>
        <p:grpSpPr>
          <a:xfrm>
            <a:off x="494931" y="2886253"/>
            <a:ext cx="10915040" cy="546407"/>
            <a:chOff x="815472" y="4759645"/>
            <a:chExt cx="17999710" cy="901065"/>
          </a:xfrm>
        </p:grpSpPr>
        <p:sp>
          <p:nvSpPr>
            <p:cNvPr id="4" name="object 4"/>
            <p:cNvSpPr/>
            <p:nvPr/>
          </p:nvSpPr>
          <p:spPr>
            <a:xfrm>
              <a:off x="1148435" y="4759648"/>
              <a:ext cx="5334000" cy="901065"/>
            </a:xfrm>
            <a:custGeom>
              <a:avLst/>
              <a:gdLst/>
              <a:ahLst/>
              <a:cxnLst/>
              <a:rect l="l" t="t" r="r" b="b"/>
              <a:pathLst>
                <a:path w="5334000" h="901064">
                  <a:moveTo>
                    <a:pt x="834326" y="0"/>
                  </a:moveTo>
                  <a:lnTo>
                    <a:pt x="0" y="0"/>
                  </a:lnTo>
                  <a:lnTo>
                    <a:pt x="0" y="894638"/>
                  </a:lnTo>
                  <a:lnTo>
                    <a:pt x="834326" y="894638"/>
                  </a:lnTo>
                  <a:lnTo>
                    <a:pt x="834326" y="0"/>
                  </a:lnTo>
                  <a:close/>
                </a:path>
                <a:path w="5334000" h="901064">
                  <a:moveTo>
                    <a:pt x="2333333" y="218630"/>
                  </a:moveTo>
                  <a:lnTo>
                    <a:pt x="1500276" y="218630"/>
                  </a:lnTo>
                  <a:lnTo>
                    <a:pt x="1500276" y="894638"/>
                  </a:lnTo>
                  <a:lnTo>
                    <a:pt x="2333333" y="894638"/>
                  </a:lnTo>
                  <a:lnTo>
                    <a:pt x="2333333" y="218630"/>
                  </a:lnTo>
                  <a:close/>
                </a:path>
                <a:path w="5334000" h="901064">
                  <a:moveTo>
                    <a:pt x="3833609" y="541553"/>
                  </a:moveTo>
                  <a:lnTo>
                    <a:pt x="3000540" y="541553"/>
                  </a:lnTo>
                  <a:lnTo>
                    <a:pt x="3000540" y="894638"/>
                  </a:lnTo>
                  <a:lnTo>
                    <a:pt x="3833609" y="894638"/>
                  </a:lnTo>
                  <a:lnTo>
                    <a:pt x="3833609" y="541553"/>
                  </a:lnTo>
                  <a:close/>
                </a:path>
                <a:path w="5334000" h="901064">
                  <a:moveTo>
                    <a:pt x="5333873" y="894638"/>
                  </a:moveTo>
                  <a:lnTo>
                    <a:pt x="4500816" y="894638"/>
                  </a:lnTo>
                  <a:lnTo>
                    <a:pt x="4500816" y="900912"/>
                  </a:lnTo>
                  <a:lnTo>
                    <a:pt x="5333873" y="900912"/>
                  </a:lnTo>
                  <a:lnTo>
                    <a:pt x="5333873" y="894638"/>
                  </a:lnTo>
                  <a:close/>
                </a:path>
              </a:pathLst>
            </a:custGeom>
            <a:solidFill>
              <a:srgbClr val="4B6C9C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5" name="object 5"/>
            <p:cNvSpPr/>
            <p:nvPr/>
          </p:nvSpPr>
          <p:spPr>
            <a:xfrm>
              <a:off x="815472" y="5654277"/>
              <a:ext cx="17999710" cy="0"/>
            </a:xfrm>
            <a:custGeom>
              <a:avLst/>
              <a:gdLst/>
              <a:ahLst/>
              <a:cxnLst/>
              <a:rect l="l" t="t" r="r" b="b"/>
              <a:pathLst>
                <a:path w="17999710">
                  <a:moveTo>
                    <a:pt x="0" y="0"/>
                  </a:moveTo>
                  <a:lnTo>
                    <a:pt x="17999451" y="0"/>
                  </a:lnTo>
                </a:path>
              </a:pathLst>
            </a:custGeom>
            <a:ln w="1047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1620562" y="2723559"/>
            <a:ext cx="464773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-12" dirty="0">
                <a:latin typeface="Calibri"/>
                <a:cs typeface="Calibri"/>
              </a:rPr>
              <a:t>16,7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2534135" y="2854042"/>
            <a:ext cx="380829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94" dirty="0">
                <a:latin typeface="Calibri"/>
                <a:cs typeface="Calibri"/>
              </a:rPr>
              <a:t>8,7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531524" y="3137296"/>
            <a:ext cx="453991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143" dirty="0">
                <a:latin typeface="Calibri"/>
                <a:cs typeface="Calibri"/>
              </a:rPr>
              <a:t>-</a:t>
            </a:r>
            <a:r>
              <a:rPr sz="2001" spc="33" dirty="0">
                <a:latin typeface="Calibri"/>
                <a:cs typeface="Calibri"/>
              </a:rPr>
              <a:t>2,5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721147" y="2477006"/>
            <a:ext cx="449370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-30" dirty="0">
                <a:latin typeface="Calibri"/>
                <a:cs typeface="Calibri"/>
              </a:rPr>
              <a:t>22,1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74542" y="3302715"/>
            <a:ext cx="497118" cy="854094"/>
          </a:xfrm>
          <a:prstGeom prst="rect">
            <a:avLst/>
          </a:prstGeom>
        </p:spPr>
        <p:txBody>
          <a:bodyPr vert="horz" wrap="square" lIns="0" tIns="121680" rIns="0" bIns="0" rtlCol="0">
            <a:spAutoFit/>
          </a:bodyPr>
          <a:lstStyle/>
          <a:p>
            <a:pPr marL="40432">
              <a:spcBef>
                <a:spcPts val="958"/>
              </a:spcBef>
            </a:pPr>
            <a:r>
              <a:rPr sz="2001" spc="273" dirty="0">
                <a:solidFill>
                  <a:srgbClr val="0D0D0D"/>
                </a:solidFill>
                <a:latin typeface="Calibri"/>
                <a:cs typeface="Calibri"/>
              </a:rPr>
              <a:t>Jan</a:t>
            </a:r>
            <a:endParaRPr sz="2001">
              <a:latin typeface="Calibri"/>
              <a:cs typeface="Calibri"/>
            </a:endParaRPr>
          </a:p>
          <a:p>
            <a:pPr marL="7701">
              <a:spcBef>
                <a:spcPts val="897"/>
              </a:spcBef>
            </a:pPr>
            <a:r>
              <a:rPr sz="2001" b="1" spc="167" dirty="0">
                <a:solidFill>
                  <a:srgbClr val="0D0D0D"/>
                </a:solidFill>
                <a:latin typeface="Calibri"/>
                <a:cs typeface="Calibri"/>
              </a:rPr>
              <a:t>575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58950" y="3956262"/>
            <a:ext cx="202544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124" dirty="0">
                <a:solidFill>
                  <a:srgbClr val="5E5E5E"/>
                </a:solidFill>
                <a:latin typeface="Calibri"/>
                <a:cs typeface="Calibri"/>
              </a:rPr>
              <a:t>N°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609546" y="931451"/>
            <a:ext cx="4460588" cy="373539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236044" indent="-228343">
              <a:spcBef>
                <a:spcPts val="76"/>
              </a:spcBef>
              <a:buAutoNum type="arabicPeriod"/>
              <a:tabLst>
                <a:tab pos="236044" algn="l"/>
                <a:tab pos="1554888" algn="l"/>
              </a:tabLst>
            </a:pPr>
            <a:r>
              <a:rPr sz="1182" spc="215" dirty="0">
                <a:solidFill>
                  <a:srgbClr val="5E5E5E"/>
                </a:solidFill>
                <a:latin typeface="Calibri"/>
                <a:cs typeface="Calibri"/>
              </a:rPr>
              <a:t>NPS</a:t>
            </a:r>
            <a:r>
              <a:rPr sz="1182" spc="36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206" dirty="0">
                <a:solidFill>
                  <a:srgbClr val="5E5E5E"/>
                </a:solidFill>
                <a:latin typeface="Calibri"/>
                <a:cs typeface="Calibri"/>
              </a:rPr>
              <a:t>com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58" dirty="0">
                <a:solidFill>
                  <a:srgbClr val="5E5E5E"/>
                </a:solidFill>
                <a:latin typeface="Calibri"/>
                <a:cs typeface="Calibri"/>
              </a:rPr>
              <a:t>queda</a:t>
            </a:r>
            <a:r>
              <a:rPr sz="1182" dirty="0">
                <a:solidFill>
                  <a:srgbClr val="5E5E5E"/>
                </a:solidFill>
                <a:latin typeface="Calibri"/>
                <a:cs typeface="Calibri"/>
              </a:rPr>
              <a:t>	</a:t>
            </a:r>
            <a:r>
              <a:rPr sz="1182" spc="158" dirty="0">
                <a:solidFill>
                  <a:srgbClr val="5E5E5E"/>
                </a:solidFill>
                <a:latin typeface="Calibri"/>
                <a:cs typeface="Calibri"/>
              </a:rPr>
              <a:t>de</a:t>
            </a:r>
            <a:r>
              <a:rPr sz="1182" spc="39" dirty="0">
                <a:solidFill>
                  <a:srgbClr val="5E5E5E"/>
                </a:solidFill>
                <a:latin typeface="Calibri"/>
                <a:cs typeface="Calibri"/>
              </a:rPr>
              <a:t> 8,6.</a:t>
            </a:r>
            <a:endParaRPr sz="1182" dirty="0">
              <a:latin typeface="Calibri"/>
              <a:cs typeface="Calibri"/>
            </a:endParaRPr>
          </a:p>
          <a:p>
            <a:pPr marL="236044" indent="-228343">
              <a:spcBef>
                <a:spcPts val="21"/>
              </a:spcBef>
              <a:buAutoNum type="arabicPeriod"/>
              <a:tabLst>
                <a:tab pos="236044" algn="l"/>
              </a:tabLst>
            </a:pPr>
            <a:r>
              <a:rPr sz="1182" spc="130" dirty="0">
                <a:solidFill>
                  <a:srgbClr val="5E5E5E"/>
                </a:solidFill>
                <a:latin typeface="Calibri"/>
                <a:cs typeface="Calibri"/>
              </a:rPr>
              <a:t>Volumetria</a:t>
            </a:r>
            <a:r>
              <a:rPr sz="1182" spc="4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30" dirty="0">
                <a:solidFill>
                  <a:srgbClr val="5E5E5E"/>
                </a:solidFill>
                <a:latin typeface="Calibri"/>
                <a:cs typeface="Calibri"/>
              </a:rPr>
              <a:t>dentro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58" dirty="0">
                <a:solidFill>
                  <a:srgbClr val="5E5E5E"/>
                </a:solidFill>
                <a:latin typeface="Calibri"/>
                <a:cs typeface="Calibri"/>
              </a:rPr>
              <a:t>da</a:t>
            </a:r>
            <a:r>
              <a:rPr sz="1182" spc="4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206" dirty="0">
                <a:solidFill>
                  <a:srgbClr val="5E5E5E"/>
                </a:solidFill>
                <a:latin typeface="Calibri"/>
                <a:cs typeface="Calibri"/>
              </a:rPr>
              <a:t>margem</a:t>
            </a:r>
            <a:r>
              <a:rPr sz="1182" spc="5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58" dirty="0">
                <a:solidFill>
                  <a:srgbClr val="5E5E5E"/>
                </a:solidFill>
                <a:latin typeface="Calibri"/>
                <a:cs typeface="Calibri"/>
              </a:rPr>
              <a:t>de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00" dirty="0">
                <a:solidFill>
                  <a:srgbClr val="5E5E5E"/>
                </a:solidFill>
                <a:latin typeface="Calibri"/>
                <a:cs typeface="Calibri"/>
              </a:rPr>
              <a:t>erro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33" dirty="0">
                <a:solidFill>
                  <a:srgbClr val="5E5E5E"/>
                </a:solidFill>
                <a:latin typeface="Calibri"/>
                <a:cs typeface="Calibri"/>
              </a:rPr>
              <a:t>para</a:t>
            </a:r>
            <a:r>
              <a:rPr sz="1182" spc="36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30" dirty="0">
                <a:solidFill>
                  <a:srgbClr val="5E5E5E"/>
                </a:solidFill>
                <a:latin typeface="Calibri"/>
                <a:cs typeface="Calibri"/>
              </a:rPr>
              <a:t>o</a:t>
            </a:r>
            <a:r>
              <a:rPr sz="1182" spc="5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49" dirty="0">
                <a:solidFill>
                  <a:srgbClr val="5E5E5E"/>
                </a:solidFill>
                <a:latin typeface="Calibri"/>
                <a:cs typeface="Calibri"/>
              </a:rPr>
              <a:t>ano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61" dirty="0">
                <a:solidFill>
                  <a:srgbClr val="5E5E5E"/>
                </a:solidFill>
                <a:latin typeface="Calibri"/>
                <a:cs typeface="Calibri"/>
              </a:rPr>
              <a:t>2025.</a:t>
            </a:r>
            <a:endParaRPr sz="1182" dirty="0">
              <a:latin typeface="Calibri"/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0943294" y="1389708"/>
            <a:ext cx="823268" cy="559606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1540" algn="ctr">
              <a:spcBef>
                <a:spcPts val="69"/>
              </a:spcBef>
            </a:pPr>
            <a:r>
              <a:rPr sz="1789" b="1" spc="270" dirty="0">
                <a:solidFill>
                  <a:srgbClr val="1B170F"/>
                </a:solidFill>
                <a:latin typeface="Calibri"/>
                <a:cs typeface="Calibri"/>
              </a:rPr>
              <a:t>YTD</a:t>
            </a:r>
            <a:endParaRPr sz="1789">
              <a:latin typeface="Calibri"/>
              <a:cs typeface="Calibri"/>
            </a:endParaRPr>
          </a:p>
          <a:p>
            <a:pPr algn="ctr">
              <a:spcBef>
                <a:spcPts val="15"/>
              </a:spcBef>
            </a:pPr>
            <a:r>
              <a:rPr sz="1789" b="1" spc="36" dirty="0">
                <a:solidFill>
                  <a:srgbClr val="1B170F"/>
                </a:solidFill>
                <a:latin typeface="Calibri"/>
                <a:cs typeface="Calibri"/>
              </a:rPr>
              <a:t>15,7</a:t>
            </a:r>
            <a:r>
              <a:rPr sz="1789" b="1" spc="109" dirty="0">
                <a:solidFill>
                  <a:srgbClr val="1B170F"/>
                </a:solidFill>
                <a:latin typeface="Calibri"/>
                <a:cs typeface="Calibri"/>
              </a:rPr>
              <a:t> </a:t>
            </a:r>
            <a:r>
              <a:rPr sz="1789" b="1" spc="263" dirty="0">
                <a:solidFill>
                  <a:srgbClr val="1B170F"/>
                </a:solidFill>
                <a:latin typeface="Calibri"/>
                <a:cs typeface="Calibri"/>
              </a:rPr>
              <a:t>pp</a:t>
            </a:r>
            <a:endParaRPr sz="1789">
              <a:latin typeface="Calibri"/>
              <a:cs typeface="Calibri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-4334" y="-4762"/>
            <a:ext cx="242591" cy="2207575"/>
            <a:chOff x="-7853" y="-7853"/>
            <a:chExt cx="400050" cy="3640454"/>
          </a:xfrm>
        </p:grpSpPr>
        <p:sp>
          <p:nvSpPr>
            <p:cNvPr id="15" name="object 15"/>
            <p:cNvSpPr/>
            <p:nvPr/>
          </p:nvSpPr>
          <p:spPr>
            <a:xfrm>
              <a:off x="0" y="0"/>
              <a:ext cx="384810" cy="3624579"/>
            </a:xfrm>
            <a:custGeom>
              <a:avLst/>
              <a:gdLst/>
              <a:ahLst/>
              <a:cxnLst/>
              <a:rect l="l" t="t" r="r" b="b"/>
              <a:pathLst>
                <a:path w="384810" h="3624579">
                  <a:moveTo>
                    <a:pt x="384318" y="0"/>
                  </a:moveTo>
                  <a:lnTo>
                    <a:pt x="0" y="0"/>
                  </a:lnTo>
                  <a:lnTo>
                    <a:pt x="0" y="3624454"/>
                  </a:lnTo>
                  <a:lnTo>
                    <a:pt x="384318" y="0"/>
                  </a:lnTo>
                  <a:close/>
                </a:path>
              </a:pathLst>
            </a:custGeom>
            <a:solidFill>
              <a:srgbClr val="2A928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6" name="object 16"/>
            <p:cNvSpPr/>
            <p:nvPr/>
          </p:nvSpPr>
          <p:spPr>
            <a:xfrm>
              <a:off x="0" y="0"/>
              <a:ext cx="384810" cy="3624579"/>
            </a:xfrm>
            <a:custGeom>
              <a:avLst/>
              <a:gdLst/>
              <a:ahLst/>
              <a:cxnLst/>
              <a:rect l="l" t="t" r="r" b="b"/>
              <a:pathLst>
                <a:path w="384810" h="3624579">
                  <a:moveTo>
                    <a:pt x="384318" y="0"/>
                  </a:moveTo>
                  <a:lnTo>
                    <a:pt x="0" y="3624454"/>
                  </a:lnTo>
                </a:path>
              </a:pathLst>
            </a:custGeom>
            <a:ln w="15706">
              <a:solidFill>
                <a:srgbClr val="004B4D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17" name="object 17"/>
          <p:cNvSpPr/>
          <p:nvPr/>
        </p:nvSpPr>
        <p:spPr>
          <a:xfrm>
            <a:off x="12013798" y="5138468"/>
            <a:ext cx="177900" cy="1719313"/>
          </a:xfrm>
          <a:custGeom>
            <a:avLst/>
            <a:gdLst/>
            <a:ahLst/>
            <a:cxnLst/>
            <a:rect l="l" t="t" r="r" b="b"/>
            <a:pathLst>
              <a:path w="293369" h="2835275">
                <a:moveTo>
                  <a:pt x="293162" y="0"/>
                </a:moveTo>
                <a:lnTo>
                  <a:pt x="0" y="2834843"/>
                </a:lnTo>
                <a:lnTo>
                  <a:pt x="293162" y="2834843"/>
                </a:lnTo>
                <a:lnTo>
                  <a:pt x="293162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18" name="object 1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654939" y="166310"/>
            <a:ext cx="402237" cy="402038"/>
          </a:xfrm>
          <a:prstGeom prst="rect">
            <a:avLst/>
          </a:prstGeom>
        </p:spPr>
      </p:pic>
      <p:pic>
        <p:nvPicPr>
          <p:cNvPr id="19" name="object 19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834545" y="0"/>
            <a:ext cx="761946" cy="761946"/>
          </a:xfrm>
          <a:prstGeom prst="rect">
            <a:avLst/>
          </a:prstGeom>
        </p:spPr>
      </p:pic>
      <p:graphicFrame>
        <p:nvGraphicFramePr>
          <p:cNvPr id="20" name="object 20"/>
          <p:cNvGraphicFramePr>
            <a:graphicFrameLocks noGrp="1"/>
          </p:cNvGraphicFramePr>
          <p:nvPr/>
        </p:nvGraphicFramePr>
        <p:xfrm>
          <a:off x="109043" y="5081485"/>
          <a:ext cx="11221938" cy="131704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637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69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477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256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5688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620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0182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6997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4610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4791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1375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6177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850608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18833">
                <a:tc>
                  <a:txBody>
                    <a:bodyPr/>
                    <a:lstStyle/>
                    <a:p>
                      <a:pPr marL="301625" marR="48260" indent="-246379"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r>
                        <a:rPr sz="1000" spc="-20" dirty="0">
                          <a:latin typeface="Calibri"/>
                          <a:cs typeface="Calibri"/>
                        </a:rPr>
                        <a:t>Promotor </a:t>
                      </a: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385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0EEA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53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252525"/>
                          </a:solidFill>
                          <a:latin typeface="Calibri"/>
                          <a:cs typeface="Calibri"/>
                        </a:rPr>
                        <a:t>49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44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40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8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7,8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8,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50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7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8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6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7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305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r>
                        <a:rPr sz="1000" spc="-10" dirty="0">
                          <a:latin typeface="Calibri"/>
                          <a:cs typeface="Calibri"/>
                        </a:rPr>
                        <a:t>Neutro</a:t>
                      </a:r>
                      <a:endParaRPr sz="1000">
                        <a:latin typeface="Calibri"/>
                        <a:cs typeface="Calibri"/>
                      </a:endParaRPr>
                    </a:p>
                    <a:p>
                      <a:pPr marR="40005" algn="ctr">
                        <a:lnSpc>
                          <a:spcPts val="1975"/>
                        </a:lnSpc>
                      </a:pP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77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F7D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15,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252525"/>
                          </a:solidFill>
                          <a:latin typeface="Calibri"/>
                          <a:cs typeface="Calibri"/>
                        </a:rPr>
                        <a:t>18,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18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16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5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8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7,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8,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7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9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8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7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3057">
                <a:tc>
                  <a:txBody>
                    <a:bodyPr/>
                    <a:lstStyle/>
                    <a:p>
                      <a:pPr algn="ctr">
                        <a:lnSpc>
                          <a:spcPts val="1980"/>
                        </a:lnSpc>
                        <a:spcBef>
                          <a:spcPts val="10"/>
                        </a:spcBef>
                      </a:pPr>
                      <a:r>
                        <a:rPr sz="1000" spc="-10" dirty="0">
                          <a:latin typeface="Calibri"/>
                          <a:cs typeface="Calibri"/>
                        </a:rPr>
                        <a:t>Detrator</a:t>
                      </a:r>
                      <a:endParaRPr sz="1000">
                        <a:latin typeface="Calibri"/>
                        <a:cs typeface="Calibri"/>
                      </a:endParaRPr>
                    </a:p>
                    <a:p>
                      <a:pPr marR="39370" algn="ctr">
                        <a:lnSpc>
                          <a:spcPts val="1975"/>
                        </a:lnSpc>
                      </a:pP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77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C1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31,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252525"/>
                          </a:solidFill>
                          <a:latin typeface="Calibri"/>
                          <a:cs typeface="Calibri"/>
                        </a:rPr>
                        <a:t>32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36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43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5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3,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4,8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1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4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1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4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5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1" name="object 21"/>
          <p:cNvGraphicFramePr>
            <a:graphicFrameLocks noGrp="1"/>
          </p:cNvGraphicFramePr>
          <p:nvPr/>
        </p:nvGraphicFramePr>
        <p:xfrm>
          <a:off x="88102" y="4497897"/>
          <a:ext cx="11220780" cy="60998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053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61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319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374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64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04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5253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3582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6716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8141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9296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7217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83058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465543">
                <a:tc>
                  <a:txBody>
                    <a:bodyPr/>
                    <a:lstStyle/>
                    <a:p>
                      <a:pPr marL="138430" marR="130810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Margem </a:t>
                      </a:r>
                      <a:r>
                        <a:rPr sz="10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de</a:t>
                      </a:r>
                      <a:r>
                        <a:rPr sz="10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rro (pp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3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84F9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785"/>
                        </a:spcBef>
                      </a:pPr>
                      <a:r>
                        <a:rPr sz="1200" spc="-25" dirty="0">
                          <a:latin typeface="Calibri"/>
                          <a:cs typeface="Calibri"/>
                        </a:rPr>
                        <a:t>4,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37468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785"/>
                        </a:spcBef>
                      </a:pPr>
                      <a:r>
                        <a:rPr sz="1200" spc="-25" dirty="0">
                          <a:solidFill>
                            <a:srgbClr val="252525"/>
                          </a:solidFill>
                          <a:latin typeface="Calibri"/>
                          <a:cs typeface="Calibri"/>
                        </a:rPr>
                        <a:t>3,8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37468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1785"/>
                        </a:spcBef>
                      </a:pPr>
                      <a:r>
                        <a:rPr sz="1200" spc="-25" dirty="0">
                          <a:latin typeface="Calibri"/>
                          <a:cs typeface="Calibri"/>
                        </a:rPr>
                        <a:t>2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37468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785"/>
                        </a:spcBef>
                      </a:pPr>
                      <a:r>
                        <a:rPr sz="1200" spc="-25" dirty="0">
                          <a:latin typeface="Calibri"/>
                          <a:cs typeface="Calibri"/>
                        </a:rPr>
                        <a:t>3,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37468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2" name="object 22"/>
          <p:cNvSpPr txBox="1"/>
          <p:nvPr/>
        </p:nvSpPr>
        <p:spPr>
          <a:xfrm>
            <a:off x="5453597" y="3444805"/>
            <a:ext cx="1354657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  <a:tabLst>
                <a:tab pos="980373" algn="l"/>
              </a:tabLst>
            </a:pPr>
            <a:r>
              <a:rPr sz="2001" spc="293" dirty="0">
                <a:solidFill>
                  <a:srgbClr val="F1F1F1"/>
                </a:solidFill>
                <a:latin typeface="Calibri"/>
                <a:cs typeface="Calibri"/>
              </a:rPr>
              <a:t>Jun</a:t>
            </a:r>
            <a:r>
              <a:rPr sz="2001" dirty="0">
                <a:solidFill>
                  <a:srgbClr val="F1F1F1"/>
                </a:solidFill>
                <a:latin typeface="Calibri"/>
                <a:cs typeface="Calibri"/>
              </a:rPr>
              <a:t>	</a:t>
            </a:r>
            <a:r>
              <a:rPr sz="2001" spc="221" dirty="0">
                <a:solidFill>
                  <a:srgbClr val="F1F1F1"/>
                </a:solidFill>
                <a:latin typeface="Calibri"/>
                <a:cs typeface="Calibri"/>
              </a:rPr>
              <a:t>Jul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558945" y="3449123"/>
            <a:ext cx="475940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139" dirty="0">
                <a:solidFill>
                  <a:srgbClr val="F1F1F1"/>
                </a:solidFill>
                <a:latin typeface="Calibri"/>
                <a:cs typeface="Calibri"/>
              </a:rPr>
              <a:t>Mai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7238838" y="3399406"/>
            <a:ext cx="530619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278" dirty="0">
                <a:solidFill>
                  <a:srgbClr val="F1F1F1"/>
                </a:solidFill>
                <a:latin typeface="Calibri"/>
                <a:cs typeface="Calibri"/>
              </a:rPr>
              <a:t>Ago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1619763" y="3361924"/>
            <a:ext cx="2440154" cy="774924"/>
          </a:xfrm>
          <a:prstGeom prst="rect">
            <a:avLst/>
          </a:prstGeom>
        </p:spPr>
        <p:txBody>
          <a:bodyPr vert="horz" wrap="square" lIns="0" tIns="81249" rIns="0" bIns="0" rtlCol="0">
            <a:spAutoFit/>
          </a:bodyPr>
          <a:lstStyle/>
          <a:p>
            <a:pPr marL="36966">
              <a:spcBef>
                <a:spcPts val="640"/>
              </a:spcBef>
              <a:tabLst>
                <a:tab pos="904900" algn="l"/>
                <a:tab pos="1953815" algn="l"/>
              </a:tabLst>
            </a:pPr>
            <a:r>
              <a:rPr sz="2001" spc="227" dirty="0">
                <a:solidFill>
                  <a:srgbClr val="252525"/>
                </a:solidFill>
                <a:latin typeface="Calibri"/>
                <a:cs typeface="Calibri"/>
              </a:rPr>
              <a:t>Fev</a:t>
            </a:r>
            <a:r>
              <a:rPr sz="2001" dirty="0">
                <a:solidFill>
                  <a:srgbClr val="252525"/>
                </a:solidFill>
                <a:latin typeface="Calibri"/>
                <a:cs typeface="Calibri"/>
              </a:rPr>
              <a:t>	</a:t>
            </a:r>
            <a:r>
              <a:rPr sz="3002" spc="227" baseline="-1683" dirty="0">
                <a:latin typeface="Calibri"/>
                <a:cs typeface="Calibri"/>
              </a:rPr>
              <a:t>Mar</a:t>
            </a:r>
            <a:r>
              <a:rPr sz="3002" baseline="-1683" dirty="0">
                <a:latin typeface="Calibri"/>
                <a:cs typeface="Calibri"/>
              </a:rPr>
              <a:t>	</a:t>
            </a:r>
            <a:r>
              <a:rPr sz="3002" spc="309" baseline="-10101" dirty="0">
                <a:latin typeface="Calibri"/>
                <a:cs typeface="Calibri"/>
              </a:rPr>
              <a:t>Abr</a:t>
            </a:r>
            <a:endParaRPr sz="3002" baseline="-10101">
              <a:latin typeface="Calibri"/>
              <a:cs typeface="Calibri"/>
            </a:endParaRPr>
          </a:p>
          <a:p>
            <a:pPr marL="23104">
              <a:spcBef>
                <a:spcPts val="579"/>
              </a:spcBef>
              <a:tabLst>
                <a:tab pos="913757" algn="l"/>
                <a:tab pos="1947269" algn="l"/>
              </a:tabLst>
            </a:pPr>
            <a:r>
              <a:rPr sz="2001" b="1" spc="218" dirty="0">
                <a:solidFill>
                  <a:srgbClr val="0D0D0D"/>
                </a:solidFill>
                <a:latin typeface="Calibri"/>
                <a:cs typeface="Calibri"/>
              </a:rPr>
              <a:t>628</a:t>
            </a:r>
            <a:r>
              <a:rPr sz="2001" b="1" dirty="0">
                <a:solidFill>
                  <a:srgbClr val="0D0D0D"/>
                </a:solidFill>
                <a:latin typeface="Calibri"/>
                <a:cs typeface="Calibri"/>
              </a:rPr>
              <a:t>	</a:t>
            </a:r>
            <a:r>
              <a:rPr sz="2001" b="1" spc="139" dirty="0">
                <a:solidFill>
                  <a:srgbClr val="0D0D0D"/>
                </a:solidFill>
                <a:latin typeface="Calibri"/>
                <a:cs typeface="Calibri"/>
              </a:rPr>
              <a:t>1020</a:t>
            </a:r>
            <a:r>
              <a:rPr sz="2001" b="1" dirty="0">
                <a:solidFill>
                  <a:srgbClr val="0D0D0D"/>
                </a:solidFill>
                <a:latin typeface="Calibri"/>
                <a:cs typeface="Calibri"/>
              </a:rPr>
              <a:t>	</a:t>
            </a:r>
            <a:r>
              <a:rPr sz="2001" b="1" spc="194" dirty="0">
                <a:solidFill>
                  <a:srgbClr val="0D0D0D"/>
                </a:solidFill>
                <a:latin typeface="Calibri"/>
                <a:cs typeface="Calibri"/>
              </a:rPr>
              <a:t>957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8205748" y="3437795"/>
            <a:ext cx="1405101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  <a:tabLst>
                <a:tab pos="909906" algn="l"/>
              </a:tabLst>
            </a:pPr>
            <a:r>
              <a:rPr sz="2001" spc="197" dirty="0">
                <a:solidFill>
                  <a:srgbClr val="F1F1F1"/>
                </a:solidFill>
                <a:latin typeface="Calibri"/>
                <a:cs typeface="Calibri"/>
              </a:rPr>
              <a:t>Set</a:t>
            </a:r>
            <a:r>
              <a:rPr sz="2001" dirty="0">
                <a:solidFill>
                  <a:srgbClr val="F1F1F1"/>
                </a:solidFill>
                <a:latin typeface="Calibri"/>
                <a:cs typeface="Calibri"/>
              </a:rPr>
              <a:t>	</a:t>
            </a:r>
            <a:r>
              <a:rPr sz="2001" spc="236" dirty="0">
                <a:solidFill>
                  <a:srgbClr val="F1F1F1"/>
                </a:solidFill>
                <a:latin typeface="Calibri"/>
                <a:cs typeface="Calibri"/>
              </a:rPr>
              <a:t>Out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10010483" y="3444805"/>
            <a:ext cx="1355042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  <a:tabLst>
                <a:tab pos="854457" algn="l"/>
              </a:tabLst>
            </a:pPr>
            <a:r>
              <a:rPr sz="2001" spc="143" dirty="0">
                <a:solidFill>
                  <a:srgbClr val="F1F1F1"/>
                </a:solidFill>
                <a:latin typeface="Calibri"/>
                <a:cs typeface="Calibri"/>
              </a:rPr>
              <a:t>Nov</a:t>
            </a:r>
            <a:r>
              <a:rPr sz="2001" spc="143" dirty="0">
                <a:solidFill>
                  <a:srgbClr val="CCCCCC"/>
                </a:solidFill>
                <a:latin typeface="Calibri"/>
                <a:cs typeface="Calibri"/>
              </a:rPr>
              <a:t>.</a:t>
            </a:r>
            <a:r>
              <a:rPr sz="2001" dirty="0">
                <a:solidFill>
                  <a:srgbClr val="CCCCCC"/>
                </a:solidFill>
                <a:latin typeface="Calibri"/>
                <a:cs typeface="Calibri"/>
              </a:rPr>
              <a:t>	</a:t>
            </a:r>
            <a:r>
              <a:rPr sz="2001" spc="261" dirty="0">
                <a:solidFill>
                  <a:srgbClr val="F1F1F1"/>
                </a:solidFill>
                <a:latin typeface="Calibri"/>
                <a:cs typeface="Calibri"/>
              </a:rPr>
              <a:t>Dez</a:t>
            </a:r>
            <a:endParaRPr sz="2001">
              <a:latin typeface="Calibri"/>
              <a:cs typeface="Calibri"/>
            </a:endParaRPr>
          </a:p>
        </p:txBody>
      </p:sp>
      <p:pic>
        <p:nvPicPr>
          <p:cNvPr id="28" name="Imagem 27">
            <a:extLst>
              <a:ext uri="{FF2B5EF4-FFF2-40B4-BE49-F238E27FC236}">
                <a16:creationId xmlns:a16="http://schemas.microsoft.com/office/drawing/2014/main" id="{31EDF33E-2630-42B0-B055-1B0CC580A8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070" y="50948"/>
            <a:ext cx="12069859" cy="6469346"/>
          </a:xfrm>
          <a:prstGeom prst="rect">
            <a:avLst/>
          </a:prstGeom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Agenda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5FF0B1B-8139-4704-BC7C-5562D8965105}"/>
              </a:ext>
            </a:extLst>
          </p:cNvPr>
          <p:cNvSpPr txBox="1"/>
          <p:nvPr/>
        </p:nvSpPr>
        <p:spPr>
          <a:xfrm>
            <a:off x="481825" y="543339"/>
            <a:ext cx="11373087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spostas e Informes aos Conselheiros</a:t>
            </a:r>
          </a:p>
          <a:p>
            <a:pPr marL="457200" indent="-457200">
              <a:defRPr/>
            </a:pPr>
            <a:endParaRPr lang="pt-BR" sz="2400" dirty="0">
              <a:solidFill>
                <a:schemeClr val="bg1"/>
              </a:solidFill>
              <a:highlight>
                <a:srgbClr val="00969A"/>
              </a:highlight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Metas do Contrato de Gestão e RH – Luana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Demonstrativo de Resultados – Alexandre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Atendimento ao Cliente e Experiência Paciente – Pedro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chemeClr val="bg1"/>
                </a:solidFill>
                <a:highlight>
                  <a:srgbClr val="00969A"/>
                </a:highlight>
                <a:latin typeface="Calibri"/>
              </a:rPr>
              <a:t>Retorno do Último Encontro: </a:t>
            </a:r>
          </a:p>
          <a:p>
            <a:pPr marL="457200" indent="-45720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lang="pt-BR" b="1" dirty="0">
                <a:solidFill>
                  <a:srgbClr val="008080"/>
                </a:solidFill>
                <a:latin typeface="Calibri"/>
              </a:rPr>
              <a:t>Luana: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 Apresentar os atendimentos realizados em outros municípios</a:t>
            </a:r>
          </a:p>
          <a:p>
            <a:pPr marL="457200" indent="-45720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lang="pt-BR" b="1" dirty="0">
                <a:solidFill>
                  <a:srgbClr val="008080"/>
                </a:solidFill>
                <a:latin typeface="Calibri"/>
              </a:rPr>
              <a:t>Dra. Mariana: 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Apresentar o fluxo do paciente agudo psiquiátrico</a:t>
            </a:r>
          </a:p>
          <a:p>
            <a:pPr marL="457200" lvl="0" indent="-45720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lang="pt-BR" b="1" dirty="0">
                <a:solidFill>
                  <a:srgbClr val="008080"/>
                </a:solidFill>
                <a:latin typeface="Calibri"/>
              </a:rPr>
              <a:t>Dr. Felipe: 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Apresentar tempo de higienização e </a:t>
            </a:r>
            <a:r>
              <a:rPr lang="pt-BR" dirty="0" err="1">
                <a:solidFill>
                  <a:srgbClr val="008080"/>
                </a:solidFill>
                <a:latin typeface="Calibri"/>
              </a:rPr>
              <a:t>Higipró</a:t>
            </a:r>
            <a:endParaRPr lang="pt-BR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lang="pt-BR" b="1" dirty="0">
                <a:solidFill>
                  <a:srgbClr val="008080"/>
                </a:solidFill>
                <a:latin typeface="Calibri"/>
              </a:rPr>
              <a:t>Camila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:</a:t>
            </a:r>
            <a:r>
              <a:rPr lang="pt-BR" dirty="0"/>
              <a:t> 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Verificação do hall de espera dos pacientes classificados em amarelo – referente a cadeiras de rodas</a:t>
            </a:r>
          </a:p>
          <a:p>
            <a:pPr marL="457200" lvl="0" indent="-45720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lang="pt-BR" b="1" dirty="0">
                <a:solidFill>
                  <a:srgbClr val="008080"/>
                </a:solidFill>
                <a:latin typeface="Calibri"/>
              </a:rPr>
              <a:t>Rose: 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Verificar a limpeza da placa “M’Boi” na fachada do Hospital</a:t>
            </a:r>
          </a:p>
          <a:p>
            <a:pPr lvl="0">
              <a:buSzPts val="1000"/>
              <a:tabLst>
                <a:tab pos="457200" algn="l"/>
              </a:tabLst>
              <a:defRPr/>
            </a:pPr>
            <a:endParaRPr lang="pt-BR" dirty="0">
              <a:solidFill>
                <a:srgbClr val="008080"/>
              </a:solidFill>
              <a:latin typeface="Calibri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pt-BR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7219165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BE0BE9B8-7ED9-4DC8-9F69-7D0E96EB4C4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544" r="5868"/>
          <a:stretch/>
        </p:blipFill>
        <p:spPr>
          <a:xfrm>
            <a:off x="191344" y="116632"/>
            <a:ext cx="10571403" cy="5844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4979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9259" b="-9259"/>
            </a:stretch>
          </a:blipFill>
        </p:spPr>
      </p:sp>
      <p:grpSp>
        <p:nvGrpSpPr>
          <p:cNvPr id="3" name="Group 3"/>
          <p:cNvGrpSpPr/>
          <p:nvPr/>
        </p:nvGrpSpPr>
        <p:grpSpPr>
          <a:xfrm>
            <a:off x="0" y="0"/>
            <a:ext cx="12192000" cy="6858000"/>
            <a:chOff x="0" y="0"/>
            <a:chExt cx="4816593" cy="2709333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4816592" cy="2709333"/>
            </a:xfrm>
            <a:custGeom>
              <a:avLst/>
              <a:gdLst/>
              <a:ahLst/>
              <a:cxnLst/>
              <a:rect l="l" t="t" r="r" b="b"/>
              <a:pathLst>
                <a:path w="4816592" h="2709333">
                  <a:moveTo>
                    <a:pt x="0" y="0"/>
                  </a:moveTo>
                  <a:lnTo>
                    <a:pt x="4816592" y="0"/>
                  </a:lnTo>
                  <a:lnTo>
                    <a:pt x="4816592" y="2709333"/>
                  </a:lnTo>
                  <a:lnTo>
                    <a:pt x="0" y="2709333"/>
                  </a:lnTo>
                  <a:close/>
                </a:path>
              </a:pathLst>
            </a:custGeom>
            <a:gradFill rotWithShape="1">
              <a:gsLst>
                <a:gs pos="0">
                  <a:srgbClr val="06B1B0">
                    <a:alpha val="41000"/>
                  </a:srgbClr>
                </a:gs>
                <a:gs pos="100000">
                  <a:srgbClr val="004F78">
                    <a:alpha val="41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</p:spPr>
        </p:sp>
        <p:sp>
          <p:nvSpPr>
            <p:cNvPr id="5" name="TextBox 5"/>
            <p:cNvSpPr txBox="1"/>
            <p:nvPr/>
          </p:nvSpPr>
          <p:spPr>
            <a:xfrm>
              <a:off x="0" y="-38100"/>
              <a:ext cx="4816593" cy="2747433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960"/>
                </a:lnSpc>
              </a:pPr>
              <a:endParaRPr sz="1200"/>
            </a:p>
          </p:txBody>
        </p:sp>
      </p:grpSp>
      <p:sp>
        <p:nvSpPr>
          <p:cNvPr id="6" name="TextBox 6"/>
          <p:cNvSpPr txBox="1"/>
          <p:nvPr/>
        </p:nvSpPr>
        <p:spPr>
          <a:xfrm>
            <a:off x="355600" y="3429000"/>
            <a:ext cx="11700830" cy="409047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6600"/>
              </a:lnSpc>
              <a:spcBef>
                <a:spcPct val="0"/>
              </a:spcBef>
            </a:pPr>
            <a:r>
              <a:rPr lang="en-US" sz="3200" b="1" dirty="0">
                <a:solidFill>
                  <a:srgbClr val="FFFFFF"/>
                </a:solidFill>
                <a:latin typeface="Montserrat Ultra-Bold"/>
                <a:ea typeface="Montserrat Ultra-Bold"/>
                <a:cs typeface="Montserrat Ultra-Bold"/>
                <a:sym typeface="Montserrat Ultra-Bold"/>
              </a:rPr>
              <a:t>SAÚDE MENTAL</a:t>
            </a:r>
          </a:p>
          <a:p>
            <a:pPr>
              <a:lnSpc>
                <a:spcPts val="6600"/>
              </a:lnSpc>
              <a:spcBef>
                <a:spcPct val="0"/>
              </a:spcBef>
            </a:pPr>
            <a:r>
              <a:rPr lang="en-US" sz="3200" b="1" dirty="0">
                <a:solidFill>
                  <a:srgbClr val="FFFFFF"/>
                </a:solidFill>
                <a:latin typeface="Montserrat Ultra-Bold"/>
                <a:ea typeface="Montserrat Ultra-Bold"/>
                <a:cs typeface="Montserrat Ultra-Bold"/>
                <a:sym typeface="Montserrat Ultra-Bold"/>
              </a:rPr>
              <a:t>Fluxo de Atendimento Pronto Socorro</a:t>
            </a:r>
          </a:p>
          <a:p>
            <a:pPr algn="r">
              <a:lnSpc>
                <a:spcPts val="6600"/>
              </a:lnSpc>
              <a:spcBef>
                <a:spcPct val="0"/>
              </a:spcBef>
            </a:pPr>
            <a:br>
              <a:rPr lang="en-US" sz="3200" b="1" dirty="0">
                <a:solidFill>
                  <a:srgbClr val="FFFFFF"/>
                </a:solidFill>
                <a:latin typeface="Montserrat Ultra-Bold"/>
                <a:ea typeface="Montserrat Ultra-Bold"/>
                <a:cs typeface="Montserrat Ultra-Bold"/>
                <a:sym typeface="Montserrat Ultra-Bold"/>
              </a:rPr>
            </a:br>
            <a:r>
              <a:rPr lang="en-US" sz="2400" b="1" dirty="0">
                <a:solidFill>
                  <a:srgbClr val="FFFFFF"/>
                </a:solidFill>
                <a:latin typeface="Montserrat Ultra-Bold"/>
                <a:ea typeface="Montserrat Ultra-Bold"/>
                <a:cs typeface="Montserrat Ultra-Bold"/>
                <a:sym typeface="Montserrat Ultra-Bold"/>
              </a:rPr>
              <a:t>Dr Diego Vieira – Coordenador Sáude Mental</a:t>
            </a:r>
            <a:br>
              <a:rPr lang="en-US" sz="2400" b="1" dirty="0">
                <a:solidFill>
                  <a:srgbClr val="FFFFFF"/>
                </a:solidFill>
                <a:latin typeface="Montserrat Ultra-Bold"/>
                <a:ea typeface="Montserrat Ultra-Bold"/>
                <a:cs typeface="Montserrat Ultra-Bold"/>
                <a:sym typeface="Montserrat Ultra-Bold"/>
              </a:rPr>
            </a:br>
            <a:r>
              <a:rPr lang="en-US" sz="2400" b="1" dirty="0">
                <a:solidFill>
                  <a:srgbClr val="FFFFFF"/>
                </a:solidFill>
                <a:latin typeface="Montserrat Ultra-Bold"/>
                <a:ea typeface="Montserrat Ultra-Bold"/>
                <a:cs typeface="Montserrat Ultra-Bold"/>
                <a:sym typeface="Montserrat Ultra-Bold"/>
              </a:rPr>
              <a:t>Dra </a:t>
            </a:r>
            <a:r>
              <a:rPr lang="en-US" sz="2400" b="1" dirty="0" err="1">
                <a:solidFill>
                  <a:srgbClr val="FFFFFF"/>
                </a:solidFill>
                <a:latin typeface="Montserrat Ultra-Bold"/>
                <a:ea typeface="Montserrat Ultra-Bold"/>
                <a:cs typeface="Montserrat Ultra-Bold"/>
                <a:sym typeface="Montserrat Ultra-Bold"/>
              </a:rPr>
              <a:t>Cláudia</a:t>
            </a:r>
            <a:r>
              <a:rPr lang="en-US" sz="2400" b="1" dirty="0">
                <a:solidFill>
                  <a:srgbClr val="FFFFFF"/>
                </a:solidFill>
                <a:latin typeface="Montserrat Ultra-Bold"/>
                <a:ea typeface="Montserrat Ultra-Bold"/>
                <a:cs typeface="Montserrat Ultra-Bold"/>
                <a:sym typeface="Montserrat Ultra-Bold"/>
              </a:rPr>
              <a:t> Ketter – RT Saúde Mental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9" y="-20638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263352" y="3913"/>
            <a:ext cx="1029714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Dia Nacional do Voluntariado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2335DEAC-33B6-42E9-B38C-6D3E29F36640}"/>
              </a:ext>
            </a:extLst>
          </p:cNvPr>
          <p:cNvSpPr txBox="1"/>
          <p:nvPr/>
        </p:nvSpPr>
        <p:spPr>
          <a:xfrm>
            <a:off x="218355" y="5123736"/>
            <a:ext cx="11223805" cy="1308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endParaRPr lang="pt-BR" sz="1600" dirty="0">
              <a:solidFill>
                <a:srgbClr val="399593"/>
              </a:solidFill>
            </a:endParaRPr>
          </a:p>
          <a:p>
            <a:pPr>
              <a:defRPr/>
            </a:pPr>
            <a:endParaRPr lang="pt-BR" sz="1600" dirty="0">
              <a:solidFill>
                <a:srgbClr val="399593"/>
              </a:solidFill>
            </a:endParaRPr>
          </a:p>
          <a:p>
            <a:pPr>
              <a:defRPr/>
            </a:pPr>
            <a:br>
              <a:rPr lang="pt-BR" sz="1600" dirty="0">
                <a:solidFill>
                  <a:srgbClr val="399593"/>
                </a:solidFill>
              </a:rPr>
            </a:br>
            <a:endParaRPr lang="pt-BR" sz="1600" dirty="0">
              <a:solidFill>
                <a:srgbClr val="399593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1500" dirty="0">
              <a:solidFill>
                <a:srgbClr val="006A6B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FCB4306F-A2DD-49B0-B8B6-392F6CE68D61}"/>
              </a:ext>
            </a:extLst>
          </p:cNvPr>
          <p:cNvSpPr txBox="1"/>
          <p:nvPr/>
        </p:nvSpPr>
        <p:spPr>
          <a:xfrm>
            <a:off x="4281671" y="5026811"/>
            <a:ext cx="721878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br>
              <a:rPr lang="pt-BR" b="1" dirty="0">
                <a:solidFill>
                  <a:srgbClr val="399593"/>
                </a:solidFill>
              </a:rPr>
            </a:br>
            <a:endParaRPr lang="pt-BR" b="1" dirty="0">
              <a:solidFill>
                <a:srgbClr val="399593"/>
              </a:solidFill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FEDB09E0-3F95-4EB8-AD45-7869AD21A3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7346" y="778396"/>
            <a:ext cx="3743979" cy="5301208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26D27F00-362B-4936-B913-64DA413A4C3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12224" y="1385428"/>
            <a:ext cx="2551292" cy="340172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FFDAABDF-5D0F-4AA8-8E88-EDB34034926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342" r="15154"/>
          <a:stretch/>
        </p:blipFill>
        <p:spPr>
          <a:xfrm>
            <a:off x="4281671" y="3171293"/>
            <a:ext cx="3605033" cy="238986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09C24BDE-B2FB-486E-B0B4-2C9E3705B0A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64681" y="899219"/>
            <a:ext cx="3647728" cy="205184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8711634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18">
            <a:extLst>
              <a:ext uri="{FF2B5EF4-FFF2-40B4-BE49-F238E27FC236}">
                <a16:creationId xmlns:a16="http://schemas.microsoft.com/office/drawing/2014/main" id="{DD20F848-98FE-4DB5-9673-99E4B2C97646}"/>
              </a:ext>
            </a:extLst>
          </p:cNvPr>
          <p:cNvSpPr txBox="1"/>
          <p:nvPr/>
        </p:nvSpPr>
        <p:spPr>
          <a:xfrm>
            <a:off x="6136180" y="5594655"/>
            <a:ext cx="4881832" cy="58221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5180"/>
              </a:lnSpc>
              <a:spcBef>
                <a:spcPct val="0"/>
              </a:spcBef>
            </a:pPr>
            <a:r>
              <a:rPr lang="en-US" sz="2589" dirty="0">
                <a:solidFill>
                  <a:srgbClr val="FFFFFF"/>
                </a:solidFill>
                <a:latin typeface="Montserrat" pitchFamily="2" charset="0"/>
                <a:ea typeface="Montserrat"/>
                <a:cs typeface="Montserrat"/>
                <a:sym typeface="Montserrat"/>
              </a:rPr>
              <a:t>Proposta PDLM 2025</a:t>
            </a:r>
          </a:p>
        </p:txBody>
      </p:sp>
      <p:grpSp>
        <p:nvGrpSpPr>
          <p:cNvPr id="26" name="Group 19">
            <a:extLst>
              <a:ext uri="{FF2B5EF4-FFF2-40B4-BE49-F238E27FC236}">
                <a16:creationId xmlns:a16="http://schemas.microsoft.com/office/drawing/2014/main" id="{11529124-67A0-4754-BA29-61BC3E2D871E}"/>
              </a:ext>
            </a:extLst>
          </p:cNvPr>
          <p:cNvGrpSpPr/>
          <p:nvPr/>
        </p:nvGrpSpPr>
        <p:grpSpPr>
          <a:xfrm>
            <a:off x="5192302" y="5723303"/>
            <a:ext cx="514666" cy="514666"/>
            <a:chOff x="0" y="0"/>
            <a:chExt cx="6350000" cy="6350000"/>
          </a:xfrm>
          <a:solidFill>
            <a:srgbClr val="192E4D"/>
          </a:solidFill>
        </p:grpSpPr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DA002E7E-D4B2-4EDF-BD1B-2A2FD6FE5152}"/>
                </a:ext>
              </a:extLst>
            </p:cNvPr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3175000" y="0"/>
                  </a:moveTo>
                  <a:cubicBezTo>
                    <a:pt x="1421496" y="0"/>
                    <a:pt x="0" y="1421496"/>
                    <a:pt x="0" y="3175000"/>
                  </a:cubicBezTo>
                  <a:cubicBezTo>
                    <a:pt x="0" y="4928504"/>
                    <a:pt x="1421496" y="6350000"/>
                    <a:pt x="3175000" y="6350000"/>
                  </a:cubicBezTo>
                  <a:cubicBezTo>
                    <a:pt x="4928504" y="6350000"/>
                    <a:pt x="6350000" y="4928504"/>
                    <a:pt x="6350000" y="3175000"/>
                  </a:cubicBezTo>
                  <a:cubicBezTo>
                    <a:pt x="6350000" y="1421496"/>
                    <a:pt x="4928504" y="0"/>
                    <a:pt x="3175000" y="0"/>
                  </a:cubicBezTo>
                  <a:close/>
                </a:path>
              </a:pathLst>
            </a:custGeom>
            <a:grpFill/>
          </p:spPr>
        </p:sp>
      </p:grpSp>
      <p:sp>
        <p:nvSpPr>
          <p:cNvPr id="28" name="TextBox 21">
            <a:extLst>
              <a:ext uri="{FF2B5EF4-FFF2-40B4-BE49-F238E27FC236}">
                <a16:creationId xmlns:a16="http://schemas.microsoft.com/office/drawing/2014/main" id="{1B4A1D4C-F647-4CD3-8928-0F53F8685E42}"/>
              </a:ext>
            </a:extLst>
          </p:cNvPr>
          <p:cNvSpPr txBox="1"/>
          <p:nvPr/>
        </p:nvSpPr>
        <p:spPr>
          <a:xfrm>
            <a:off x="5267898" y="5716349"/>
            <a:ext cx="363474" cy="441531"/>
          </a:xfrm>
          <a:prstGeom prst="rect">
            <a:avLst/>
          </a:prstGeom>
          <a:noFill/>
        </p:spPr>
        <p:txBody>
          <a:bodyPr lIns="0" tIns="0" rIns="0" bIns="0" rtlCol="0" anchor="t">
            <a:spAutoFit/>
          </a:bodyPr>
          <a:lstStyle/>
          <a:p>
            <a:pPr marL="0" lvl="1" algn="ctr">
              <a:lnSpc>
                <a:spcPts val="3768"/>
              </a:lnSpc>
              <a:spcBef>
                <a:spcPct val="0"/>
              </a:spcBef>
            </a:pPr>
            <a:r>
              <a:rPr lang="en-US" sz="2400" b="1" dirty="0">
                <a:solidFill>
                  <a:srgbClr val="B3C7BA"/>
                </a:solidFill>
                <a:latin typeface="Montserrat" pitchFamily="2" charset="0"/>
                <a:ea typeface="Montserrat Bold"/>
                <a:cs typeface="Montserrat Bold"/>
                <a:sym typeface="Montserrat Bold"/>
              </a:rPr>
              <a:t>6</a:t>
            </a:r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8B4BB860-35A1-4C23-B908-B449AE48FF7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738"/>
          <a:stretch/>
        </p:blipFill>
        <p:spPr>
          <a:xfrm>
            <a:off x="0" y="5707717"/>
            <a:ext cx="12192000" cy="1175683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B1DE98A4-1B11-4052-AEE6-0169562339DA}"/>
              </a:ext>
            </a:extLst>
          </p:cNvPr>
          <p:cNvSpPr txBox="1"/>
          <p:nvPr/>
        </p:nvSpPr>
        <p:spPr>
          <a:xfrm>
            <a:off x="5791200" y="3138055"/>
            <a:ext cx="609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1200" dirty="0"/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6D80634C-EEA0-4D10-A5D2-EB8012EA95B4}"/>
              </a:ext>
            </a:extLst>
          </p:cNvPr>
          <p:cNvSpPr txBox="1"/>
          <p:nvPr/>
        </p:nvSpPr>
        <p:spPr>
          <a:xfrm>
            <a:off x="1930400" y="1722282"/>
            <a:ext cx="89408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1. Apresenta sofrimento mental agudo ou agravado</a:t>
            </a:r>
          </a:p>
          <a:p>
            <a:r>
              <a:rPr lang="pt-BR" sz="2400" dirty="0"/>
              <a:t>2. Pode estar em risco de autoagressão ou suicídio</a:t>
            </a:r>
          </a:p>
          <a:p>
            <a:r>
              <a:rPr lang="pt-BR" sz="2400" dirty="0"/>
              <a:t>3. Demonstra comportamento agressivo ou descontrolado</a:t>
            </a:r>
          </a:p>
          <a:p>
            <a:r>
              <a:rPr lang="pt-BR" sz="2400" dirty="0"/>
              <a:t>4. Enfrenta desregulação emocional, delírios e/ou quadro psicótico</a:t>
            </a:r>
          </a:p>
          <a:p>
            <a:r>
              <a:rPr lang="pt-BR" sz="2400" dirty="0"/>
              <a:t>5. Necessita de avaliação e intervenção</a:t>
            </a:r>
          </a:p>
          <a:p>
            <a:r>
              <a:rPr lang="pt-BR" sz="2400" dirty="0"/>
              <a:t>6. Pode ter histórico de transtornos mentais conhecidos ou novos episódios</a:t>
            </a:r>
          </a:p>
          <a:p>
            <a:endParaRPr lang="pt-BR" sz="1200" dirty="0"/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A80A6A97-E460-46EB-AAFA-59C3637BF8EC}"/>
              </a:ext>
            </a:extLst>
          </p:cNvPr>
          <p:cNvSpPr txBox="1"/>
          <p:nvPr/>
        </p:nvSpPr>
        <p:spPr>
          <a:xfrm>
            <a:off x="1642968" y="1041400"/>
            <a:ext cx="8128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/>
              <a:t>Paciente que procura atendimento psiquiátrico de emergência</a:t>
            </a:r>
            <a:endParaRPr lang="pt-BR" sz="2400" dirty="0"/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0C1C059F-6D91-4AF6-84D1-12B0B04EE8C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48721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18">
            <a:extLst>
              <a:ext uri="{FF2B5EF4-FFF2-40B4-BE49-F238E27FC236}">
                <a16:creationId xmlns:a16="http://schemas.microsoft.com/office/drawing/2014/main" id="{DD20F848-98FE-4DB5-9673-99E4B2C97646}"/>
              </a:ext>
            </a:extLst>
          </p:cNvPr>
          <p:cNvSpPr txBox="1"/>
          <p:nvPr/>
        </p:nvSpPr>
        <p:spPr>
          <a:xfrm>
            <a:off x="6136180" y="5594655"/>
            <a:ext cx="4881832" cy="58221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5180"/>
              </a:lnSpc>
              <a:spcBef>
                <a:spcPct val="0"/>
              </a:spcBef>
            </a:pPr>
            <a:r>
              <a:rPr lang="en-US" sz="2589" dirty="0">
                <a:solidFill>
                  <a:srgbClr val="FFFFFF"/>
                </a:solidFill>
                <a:latin typeface="Montserrat" pitchFamily="2" charset="0"/>
                <a:ea typeface="Montserrat"/>
                <a:cs typeface="Montserrat"/>
                <a:sym typeface="Montserrat"/>
              </a:rPr>
              <a:t>Proposta PDLM 2025</a:t>
            </a:r>
          </a:p>
        </p:txBody>
      </p:sp>
      <p:grpSp>
        <p:nvGrpSpPr>
          <p:cNvPr id="26" name="Group 19">
            <a:extLst>
              <a:ext uri="{FF2B5EF4-FFF2-40B4-BE49-F238E27FC236}">
                <a16:creationId xmlns:a16="http://schemas.microsoft.com/office/drawing/2014/main" id="{11529124-67A0-4754-BA29-61BC3E2D871E}"/>
              </a:ext>
            </a:extLst>
          </p:cNvPr>
          <p:cNvGrpSpPr/>
          <p:nvPr/>
        </p:nvGrpSpPr>
        <p:grpSpPr>
          <a:xfrm>
            <a:off x="5192302" y="5723303"/>
            <a:ext cx="514666" cy="514666"/>
            <a:chOff x="0" y="0"/>
            <a:chExt cx="6350000" cy="6350000"/>
          </a:xfrm>
          <a:solidFill>
            <a:srgbClr val="192E4D"/>
          </a:solidFill>
        </p:grpSpPr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DA002E7E-D4B2-4EDF-BD1B-2A2FD6FE5152}"/>
                </a:ext>
              </a:extLst>
            </p:cNvPr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3175000" y="0"/>
                  </a:moveTo>
                  <a:cubicBezTo>
                    <a:pt x="1421496" y="0"/>
                    <a:pt x="0" y="1421496"/>
                    <a:pt x="0" y="3175000"/>
                  </a:cubicBezTo>
                  <a:cubicBezTo>
                    <a:pt x="0" y="4928504"/>
                    <a:pt x="1421496" y="6350000"/>
                    <a:pt x="3175000" y="6350000"/>
                  </a:cubicBezTo>
                  <a:cubicBezTo>
                    <a:pt x="4928504" y="6350000"/>
                    <a:pt x="6350000" y="4928504"/>
                    <a:pt x="6350000" y="3175000"/>
                  </a:cubicBezTo>
                  <a:cubicBezTo>
                    <a:pt x="6350000" y="1421496"/>
                    <a:pt x="4928504" y="0"/>
                    <a:pt x="3175000" y="0"/>
                  </a:cubicBezTo>
                  <a:close/>
                </a:path>
              </a:pathLst>
            </a:custGeom>
            <a:grpFill/>
          </p:spPr>
        </p:sp>
      </p:grpSp>
      <p:sp>
        <p:nvSpPr>
          <p:cNvPr id="28" name="TextBox 21">
            <a:extLst>
              <a:ext uri="{FF2B5EF4-FFF2-40B4-BE49-F238E27FC236}">
                <a16:creationId xmlns:a16="http://schemas.microsoft.com/office/drawing/2014/main" id="{1B4A1D4C-F647-4CD3-8928-0F53F8685E42}"/>
              </a:ext>
            </a:extLst>
          </p:cNvPr>
          <p:cNvSpPr txBox="1"/>
          <p:nvPr/>
        </p:nvSpPr>
        <p:spPr>
          <a:xfrm>
            <a:off x="5267898" y="5716349"/>
            <a:ext cx="363474" cy="441531"/>
          </a:xfrm>
          <a:prstGeom prst="rect">
            <a:avLst/>
          </a:prstGeom>
          <a:noFill/>
        </p:spPr>
        <p:txBody>
          <a:bodyPr lIns="0" tIns="0" rIns="0" bIns="0" rtlCol="0" anchor="t">
            <a:spAutoFit/>
          </a:bodyPr>
          <a:lstStyle/>
          <a:p>
            <a:pPr marL="0" lvl="1" algn="ctr">
              <a:lnSpc>
                <a:spcPts val="3768"/>
              </a:lnSpc>
              <a:spcBef>
                <a:spcPct val="0"/>
              </a:spcBef>
            </a:pPr>
            <a:r>
              <a:rPr lang="en-US" sz="2400" b="1" dirty="0">
                <a:solidFill>
                  <a:srgbClr val="B3C7BA"/>
                </a:solidFill>
                <a:latin typeface="Montserrat" pitchFamily="2" charset="0"/>
                <a:ea typeface="Montserrat Bold"/>
                <a:cs typeface="Montserrat Bold"/>
                <a:sym typeface="Montserrat Bold"/>
              </a:rPr>
              <a:t>6</a:t>
            </a:r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8B4BB860-35A1-4C23-B908-B449AE48FF7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738"/>
          <a:stretch/>
        </p:blipFill>
        <p:spPr>
          <a:xfrm>
            <a:off x="0" y="5707717"/>
            <a:ext cx="12192000" cy="1175683"/>
          </a:xfrm>
          <a:prstGeom prst="rect">
            <a:avLst/>
          </a:prstGeom>
        </p:spPr>
      </p:pic>
      <p:sp>
        <p:nvSpPr>
          <p:cNvPr id="10" name="Retângulo 9">
            <a:extLst>
              <a:ext uri="{FF2B5EF4-FFF2-40B4-BE49-F238E27FC236}">
                <a16:creationId xmlns:a16="http://schemas.microsoft.com/office/drawing/2014/main" id="{8665A942-4047-4F1B-94DE-29C0D03A7498}"/>
              </a:ext>
            </a:extLst>
          </p:cNvPr>
          <p:cNvSpPr/>
          <p:nvPr/>
        </p:nvSpPr>
        <p:spPr>
          <a:xfrm>
            <a:off x="1721962" y="1830007"/>
            <a:ext cx="7970012" cy="3540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A psiquiatria do Hospital </a:t>
            </a:r>
            <a:r>
              <a:rPr lang="pt-BR" sz="1867" dirty="0" err="1">
                <a:solidFill>
                  <a:srgbClr val="000000"/>
                </a:solidFill>
                <a:latin typeface="Inter"/>
              </a:rPr>
              <a:t>Mboi</a:t>
            </a:r>
            <a:r>
              <a:rPr lang="pt-BR" sz="1867" dirty="0">
                <a:solidFill>
                  <a:srgbClr val="000000"/>
                </a:solidFill>
                <a:latin typeface="Inter"/>
              </a:rPr>
              <a:t> Mirim foi inaugurada em abril de 2008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Desde sua abertura, exceto durante o período agudo da pandemia de COVID-19, manteve porta aberta direta para a psiquiatria.</a:t>
            </a:r>
          </a:p>
          <a:p>
            <a:pPr marL="495325" lvl="1" indent="-190510"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Isso significa que pacientes com queixa psiquiátrica podiam abrir ficha diretamente na psiquiatria.</a:t>
            </a:r>
            <a:br>
              <a:rPr lang="pt-BR" sz="1867" dirty="0">
                <a:solidFill>
                  <a:srgbClr val="000000"/>
                </a:solidFill>
                <a:latin typeface="Inter"/>
              </a:rPr>
            </a:br>
            <a:endParaRPr lang="pt-BR" sz="1867" dirty="0">
              <a:solidFill>
                <a:srgbClr val="000000"/>
              </a:solidFill>
              <a:latin typeface="Inter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Em </a:t>
            </a:r>
            <a:r>
              <a:rPr lang="pt-BR" sz="1867" b="1" dirty="0">
                <a:solidFill>
                  <a:srgbClr val="000000"/>
                </a:solidFill>
                <a:latin typeface="Inter"/>
              </a:rPr>
              <a:t>fevereiro de 2025</a:t>
            </a:r>
            <a:r>
              <a:rPr lang="pt-BR" sz="1867" dirty="0">
                <a:solidFill>
                  <a:srgbClr val="000000"/>
                </a:solidFill>
                <a:latin typeface="Inter"/>
              </a:rPr>
              <a:t>, a coordenação do hospital decidiu uma mudança no fluxo de atendimento.</a:t>
            </a:r>
          </a:p>
          <a:p>
            <a:pPr marL="495325" lvl="1" indent="-190510"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Agora, todas as fichas, inclusive as de pacientes com queixas psiquiátricas, devem ser primeiro abertas na clínica médica.</a:t>
            </a:r>
          </a:p>
          <a:p>
            <a:pPr marL="495325" lvl="1" indent="-190510"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Posteriormente, os casos podem ser encaminhados para a avaliação psiquiátrica, se necessário.</a:t>
            </a: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AD7556BA-183C-4C09-8046-D09C61522E55}"/>
              </a:ext>
            </a:extLst>
          </p:cNvPr>
          <p:cNvSpPr/>
          <p:nvPr/>
        </p:nvSpPr>
        <p:spPr>
          <a:xfrm>
            <a:off x="2402763" y="988498"/>
            <a:ext cx="62476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>
                <a:solidFill>
                  <a:srgbClr val="000000"/>
                </a:solidFill>
                <a:latin typeface="Inter"/>
              </a:rPr>
              <a:t>Histórico da Psiquiatria no Hospital </a:t>
            </a:r>
            <a:r>
              <a:rPr lang="pt-BR" sz="2400" b="1" dirty="0" err="1">
                <a:solidFill>
                  <a:srgbClr val="000000"/>
                </a:solidFill>
                <a:latin typeface="Inter"/>
              </a:rPr>
              <a:t>Mboi</a:t>
            </a:r>
            <a:r>
              <a:rPr lang="pt-BR" sz="2400" b="1" dirty="0">
                <a:solidFill>
                  <a:srgbClr val="000000"/>
                </a:solidFill>
                <a:latin typeface="Inter"/>
              </a:rPr>
              <a:t> Mirim</a:t>
            </a:r>
            <a:endParaRPr lang="pt-BR" sz="2400" dirty="0"/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67A80E41-A95E-4AC2-89F4-45DBD6DB5A4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18">
            <a:extLst>
              <a:ext uri="{FF2B5EF4-FFF2-40B4-BE49-F238E27FC236}">
                <a16:creationId xmlns:a16="http://schemas.microsoft.com/office/drawing/2014/main" id="{DD20F848-98FE-4DB5-9673-99E4B2C97646}"/>
              </a:ext>
            </a:extLst>
          </p:cNvPr>
          <p:cNvSpPr txBox="1"/>
          <p:nvPr/>
        </p:nvSpPr>
        <p:spPr>
          <a:xfrm>
            <a:off x="6136180" y="5594655"/>
            <a:ext cx="4881832" cy="58221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5180"/>
              </a:lnSpc>
              <a:spcBef>
                <a:spcPct val="0"/>
              </a:spcBef>
            </a:pPr>
            <a:r>
              <a:rPr lang="en-US" sz="2589" dirty="0">
                <a:solidFill>
                  <a:srgbClr val="FFFFFF"/>
                </a:solidFill>
                <a:latin typeface="Montserrat" pitchFamily="2" charset="0"/>
                <a:ea typeface="Montserrat"/>
                <a:cs typeface="Montserrat"/>
                <a:sym typeface="Montserrat"/>
              </a:rPr>
              <a:t>Proposta PDLM 2025</a:t>
            </a:r>
          </a:p>
        </p:txBody>
      </p:sp>
      <p:grpSp>
        <p:nvGrpSpPr>
          <p:cNvPr id="26" name="Group 19">
            <a:extLst>
              <a:ext uri="{FF2B5EF4-FFF2-40B4-BE49-F238E27FC236}">
                <a16:creationId xmlns:a16="http://schemas.microsoft.com/office/drawing/2014/main" id="{11529124-67A0-4754-BA29-61BC3E2D871E}"/>
              </a:ext>
            </a:extLst>
          </p:cNvPr>
          <p:cNvGrpSpPr/>
          <p:nvPr/>
        </p:nvGrpSpPr>
        <p:grpSpPr>
          <a:xfrm>
            <a:off x="5192302" y="5723303"/>
            <a:ext cx="514666" cy="514666"/>
            <a:chOff x="0" y="0"/>
            <a:chExt cx="6350000" cy="6350000"/>
          </a:xfrm>
          <a:solidFill>
            <a:srgbClr val="192E4D"/>
          </a:solidFill>
        </p:grpSpPr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DA002E7E-D4B2-4EDF-BD1B-2A2FD6FE5152}"/>
                </a:ext>
              </a:extLst>
            </p:cNvPr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3175000" y="0"/>
                  </a:moveTo>
                  <a:cubicBezTo>
                    <a:pt x="1421496" y="0"/>
                    <a:pt x="0" y="1421496"/>
                    <a:pt x="0" y="3175000"/>
                  </a:cubicBezTo>
                  <a:cubicBezTo>
                    <a:pt x="0" y="4928504"/>
                    <a:pt x="1421496" y="6350000"/>
                    <a:pt x="3175000" y="6350000"/>
                  </a:cubicBezTo>
                  <a:cubicBezTo>
                    <a:pt x="4928504" y="6350000"/>
                    <a:pt x="6350000" y="4928504"/>
                    <a:pt x="6350000" y="3175000"/>
                  </a:cubicBezTo>
                  <a:cubicBezTo>
                    <a:pt x="6350000" y="1421496"/>
                    <a:pt x="4928504" y="0"/>
                    <a:pt x="3175000" y="0"/>
                  </a:cubicBezTo>
                  <a:close/>
                </a:path>
              </a:pathLst>
            </a:custGeom>
            <a:grpFill/>
          </p:spPr>
        </p:sp>
      </p:grpSp>
      <p:sp>
        <p:nvSpPr>
          <p:cNvPr id="28" name="TextBox 21">
            <a:extLst>
              <a:ext uri="{FF2B5EF4-FFF2-40B4-BE49-F238E27FC236}">
                <a16:creationId xmlns:a16="http://schemas.microsoft.com/office/drawing/2014/main" id="{1B4A1D4C-F647-4CD3-8928-0F53F8685E42}"/>
              </a:ext>
            </a:extLst>
          </p:cNvPr>
          <p:cNvSpPr txBox="1"/>
          <p:nvPr/>
        </p:nvSpPr>
        <p:spPr>
          <a:xfrm>
            <a:off x="5267898" y="5716349"/>
            <a:ext cx="363474" cy="441531"/>
          </a:xfrm>
          <a:prstGeom prst="rect">
            <a:avLst/>
          </a:prstGeom>
          <a:noFill/>
        </p:spPr>
        <p:txBody>
          <a:bodyPr lIns="0" tIns="0" rIns="0" bIns="0" rtlCol="0" anchor="t">
            <a:spAutoFit/>
          </a:bodyPr>
          <a:lstStyle/>
          <a:p>
            <a:pPr marL="0" lvl="1" algn="ctr">
              <a:lnSpc>
                <a:spcPts val="3768"/>
              </a:lnSpc>
              <a:spcBef>
                <a:spcPct val="0"/>
              </a:spcBef>
            </a:pPr>
            <a:r>
              <a:rPr lang="en-US" sz="2400" b="1" dirty="0">
                <a:solidFill>
                  <a:srgbClr val="B3C7BA"/>
                </a:solidFill>
                <a:latin typeface="Montserrat" pitchFamily="2" charset="0"/>
                <a:ea typeface="Montserrat Bold"/>
                <a:cs typeface="Montserrat Bold"/>
                <a:sym typeface="Montserrat Bold"/>
              </a:rPr>
              <a:t>6</a:t>
            </a:r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8B4BB860-35A1-4C23-B908-B449AE48FF7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738"/>
          <a:stretch/>
        </p:blipFill>
        <p:spPr>
          <a:xfrm>
            <a:off x="0" y="5707717"/>
            <a:ext cx="12192000" cy="1175683"/>
          </a:xfrm>
          <a:prstGeom prst="rect">
            <a:avLst/>
          </a:prstGeom>
        </p:spPr>
      </p:pic>
      <p:sp>
        <p:nvSpPr>
          <p:cNvPr id="14" name="Retângulo 13">
            <a:extLst>
              <a:ext uri="{FF2B5EF4-FFF2-40B4-BE49-F238E27FC236}">
                <a16:creationId xmlns:a16="http://schemas.microsoft.com/office/drawing/2014/main" id="{AD7556BA-183C-4C09-8046-D09C61522E55}"/>
              </a:ext>
            </a:extLst>
          </p:cNvPr>
          <p:cNvSpPr/>
          <p:nvPr/>
        </p:nvSpPr>
        <p:spPr>
          <a:xfrm>
            <a:off x="2402763" y="988498"/>
            <a:ext cx="62476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>
                <a:solidFill>
                  <a:srgbClr val="000000"/>
                </a:solidFill>
                <a:latin typeface="Inter"/>
              </a:rPr>
              <a:t>Histórico da Psiquiatria no Hospital </a:t>
            </a:r>
            <a:r>
              <a:rPr lang="pt-BR" sz="2400" b="1" dirty="0" err="1">
                <a:solidFill>
                  <a:srgbClr val="000000"/>
                </a:solidFill>
                <a:latin typeface="Inter"/>
              </a:rPr>
              <a:t>Mboi</a:t>
            </a:r>
            <a:r>
              <a:rPr lang="pt-BR" sz="2400" b="1" dirty="0">
                <a:solidFill>
                  <a:srgbClr val="000000"/>
                </a:solidFill>
                <a:latin typeface="Inter"/>
              </a:rPr>
              <a:t> Mirim</a:t>
            </a:r>
            <a:endParaRPr lang="pt-BR" sz="2400" dirty="0"/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E3CC4A6F-9EFC-42D9-BF62-0D947D2D75CD}"/>
              </a:ext>
            </a:extLst>
          </p:cNvPr>
          <p:cNvSpPr/>
          <p:nvPr/>
        </p:nvSpPr>
        <p:spPr>
          <a:xfrm>
            <a:off x="2159000" y="1665596"/>
            <a:ext cx="7874000" cy="38275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867" b="1" dirty="0">
                <a:solidFill>
                  <a:srgbClr val="000000"/>
                </a:solidFill>
                <a:latin typeface="Inter"/>
              </a:rPr>
              <a:t>Motivo da Mudança no Fluxo de Atendimento</a:t>
            </a:r>
            <a:endParaRPr lang="pt-BR" sz="1867" dirty="0">
              <a:solidFill>
                <a:srgbClr val="000000"/>
              </a:solidFill>
              <a:latin typeface="Inter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Muitas condições orgânicas graves podem se apresentar com sintomas psiquiátricos, como:</a:t>
            </a:r>
          </a:p>
          <a:p>
            <a:pPr marL="495325" lvl="1" indent="-190510"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Acidente vascular cerebral (AVC)</a:t>
            </a:r>
          </a:p>
          <a:p>
            <a:pPr marL="495325" lvl="1" indent="-190510"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Intoxicação aguda (uso de substâncias, envenenamentos)</a:t>
            </a:r>
          </a:p>
          <a:p>
            <a:pPr marL="495325" lvl="1" indent="-190510"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Epilepsia</a:t>
            </a:r>
          </a:p>
          <a:p>
            <a:pPr marL="495325" lvl="1" indent="-190510"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Hipoglicemia</a:t>
            </a:r>
          </a:p>
          <a:p>
            <a:pPr marL="495325" lvl="1" indent="-190510"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Traumatismo craniano</a:t>
            </a:r>
          </a:p>
          <a:p>
            <a:pPr marL="495325" lvl="1" indent="-190510"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Infecções (pneumonia, meningite, infecção urinária)</a:t>
            </a:r>
          </a:p>
          <a:p>
            <a:pPr marL="495325" lvl="1" indent="-190510"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Distúrbios hidroeletrolíticos</a:t>
            </a:r>
          </a:p>
          <a:p>
            <a:pPr marL="495325" lvl="1" indent="-190510"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Quadros de demênc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Esses pacientes podem apresentar sinais de desorganização, confusão mental, psicoses ou delírios, porém a etiologia é de origem orgânica.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2033E03F-D475-4DDB-9F4D-54F6849A9AD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23514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18">
            <a:extLst>
              <a:ext uri="{FF2B5EF4-FFF2-40B4-BE49-F238E27FC236}">
                <a16:creationId xmlns:a16="http://schemas.microsoft.com/office/drawing/2014/main" id="{DD20F848-98FE-4DB5-9673-99E4B2C97646}"/>
              </a:ext>
            </a:extLst>
          </p:cNvPr>
          <p:cNvSpPr txBox="1"/>
          <p:nvPr/>
        </p:nvSpPr>
        <p:spPr>
          <a:xfrm>
            <a:off x="6136180" y="5594655"/>
            <a:ext cx="4881832" cy="58221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5180"/>
              </a:lnSpc>
              <a:spcBef>
                <a:spcPct val="0"/>
              </a:spcBef>
            </a:pPr>
            <a:r>
              <a:rPr lang="en-US" sz="2589" dirty="0">
                <a:solidFill>
                  <a:srgbClr val="FFFFFF"/>
                </a:solidFill>
                <a:latin typeface="Montserrat" pitchFamily="2" charset="0"/>
                <a:ea typeface="Montserrat"/>
                <a:cs typeface="Montserrat"/>
                <a:sym typeface="Montserrat"/>
              </a:rPr>
              <a:t>Proposta PDLM 2025</a:t>
            </a:r>
          </a:p>
        </p:txBody>
      </p:sp>
      <p:grpSp>
        <p:nvGrpSpPr>
          <p:cNvPr id="26" name="Group 19">
            <a:extLst>
              <a:ext uri="{FF2B5EF4-FFF2-40B4-BE49-F238E27FC236}">
                <a16:creationId xmlns:a16="http://schemas.microsoft.com/office/drawing/2014/main" id="{11529124-67A0-4754-BA29-61BC3E2D871E}"/>
              </a:ext>
            </a:extLst>
          </p:cNvPr>
          <p:cNvGrpSpPr/>
          <p:nvPr/>
        </p:nvGrpSpPr>
        <p:grpSpPr>
          <a:xfrm>
            <a:off x="5192302" y="5723303"/>
            <a:ext cx="514666" cy="514666"/>
            <a:chOff x="0" y="0"/>
            <a:chExt cx="6350000" cy="6350000"/>
          </a:xfrm>
          <a:solidFill>
            <a:srgbClr val="192E4D"/>
          </a:solidFill>
        </p:grpSpPr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DA002E7E-D4B2-4EDF-BD1B-2A2FD6FE5152}"/>
                </a:ext>
              </a:extLst>
            </p:cNvPr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3175000" y="0"/>
                  </a:moveTo>
                  <a:cubicBezTo>
                    <a:pt x="1421496" y="0"/>
                    <a:pt x="0" y="1421496"/>
                    <a:pt x="0" y="3175000"/>
                  </a:cubicBezTo>
                  <a:cubicBezTo>
                    <a:pt x="0" y="4928504"/>
                    <a:pt x="1421496" y="6350000"/>
                    <a:pt x="3175000" y="6350000"/>
                  </a:cubicBezTo>
                  <a:cubicBezTo>
                    <a:pt x="4928504" y="6350000"/>
                    <a:pt x="6350000" y="4928504"/>
                    <a:pt x="6350000" y="3175000"/>
                  </a:cubicBezTo>
                  <a:cubicBezTo>
                    <a:pt x="6350000" y="1421496"/>
                    <a:pt x="4928504" y="0"/>
                    <a:pt x="3175000" y="0"/>
                  </a:cubicBezTo>
                  <a:close/>
                </a:path>
              </a:pathLst>
            </a:custGeom>
            <a:grpFill/>
          </p:spPr>
        </p:sp>
      </p:grpSp>
      <p:sp>
        <p:nvSpPr>
          <p:cNvPr id="28" name="TextBox 21">
            <a:extLst>
              <a:ext uri="{FF2B5EF4-FFF2-40B4-BE49-F238E27FC236}">
                <a16:creationId xmlns:a16="http://schemas.microsoft.com/office/drawing/2014/main" id="{1B4A1D4C-F647-4CD3-8928-0F53F8685E42}"/>
              </a:ext>
            </a:extLst>
          </p:cNvPr>
          <p:cNvSpPr txBox="1"/>
          <p:nvPr/>
        </p:nvSpPr>
        <p:spPr>
          <a:xfrm>
            <a:off x="5267898" y="5716349"/>
            <a:ext cx="363474" cy="441531"/>
          </a:xfrm>
          <a:prstGeom prst="rect">
            <a:avLst/>
          </a:prstGeom>
          <a:noFill/>
        </p:spPr>
        <p:txBody>
          <a:bodyPr lIns="0" tIns="0" rIns="0" bIns="0" rtlCol="0" anchor="t">
            <a:spAutoFit/>
          </a:bodyPr>
          <a:lstStyle/>
          <a:p>
            <a:pPr marL="0" lvl="1" algn="ctr">
              <a:lnSpc>
                <a:spcPts val="3768"/>
              </a:lnSpc>
              <a:spcBef>
                <a:spcPct val="0"/>
              </a:spcBef>
            </a:pPr>
            <a:r>
              <a:rPr lang="en-US" sz="2400" b="1" dirty="0">
                <a:solidFill>
                  <a:srgbClr val="B3C7BA"/>
                </a:solidFill>
                <a:latin typeface="Montserrat" pitchFamily="2" charset="0"/>
                <a:ea typeface="Montserrat Bold"/>
                <a:cs typeface="Montserrat Bold"/>
                <a:sym typeface="Montserrat Bold"/>
              </a:rPr>
              <a:t>6</a:t>
            </a:r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8B4BB860-35A1-4C23-B908-B449AE48FF7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738"/>
          <a:stretch/>
        </p:blipFill>
        <p:spPr>
          <a:xfrm>
            <a:off x="0" y="5707717"/>
            <a:ext cx="12192000" cy="1175683"/>
          </a:xfrm>
          <a:prstGeom prst="rect">
            <a:avLst/>
          </a:prstGeom>
        </p:spPr>
      </p:pic>
      <p:sp>
        <p:nvSpPr>
          <p:cNvPr id="14" name="Retângulo 13">
            <a:extLst>
              <a:ext uri="{FF2B5EF4-FFF2-40B4-BE49-F238E27FC236}">
                <a16:creationId xmlns:a16="http://schemas.microsoft.com/office/drawing/2014/main" id="{AD7556BA-183C-4C09-8046-D09C61522E55}"/>
              </a:ext>
            </a:extLst>
          </p:cNvPr>
          <p:cNvSpPr/>
          <p:nvPr/>
        </p:nvSpPr>
        <p:spPr>
          <a:xfrm>
            <a:off x="2402763" y="988498"/>
            <a:ext cx="62476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>
                <a:solidFill>
                  <a:srgbClr val="000000"/>
                </a:solidFill>
                <a:latin typeface="Inter"/>
              </a:rPr>
              <a:t>Histórico da Psiquiatria no Hospital </a:t>
            </a:r>
            <a:r>
              <a:rPr lang="pt-BR" sz="2400" b="1" dirty="0" err="1">
                <a:solidFill>
                  <a:srgbClr val="000000"/>
                </a:solidFill>
                <a:latin typeface="Inter"/>
              </a:rPr>
              <a:t>Mboi</a:t>
            </a:r>
            <a:r>
              <a:rPr lang="pt-BR" sz="2400" b="1" dirty="0">
                <a:solidFill>
                  <a:srgbClr val="000000"/>
                </a:solidFill>
                <a:latin typeface="Inter"/>
              </a:rPr>
              <a:t> Mirim</a:t>
            </a:r>
            <a:endParaRPr lang="pt-BR" sz="2400" dirty="0"/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5D72CA09-60F6-463A-B18D-2FC2EDC79D0B}"/>
              </a:ext>
            </a:extLst>
          </p:cNvPr>
          <p:cNvSpPr/>
          <p:nvPr/>
        </p:nvSpPr>
        <p:spPr>
          <a:xfrm>
            <a:off x="1871568" y="1998915"/>
            <a:ext cx="7670800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000000"/>
                </a:solidFill>
                <a:latin typeface="Inter"/>
              </a:rPr>
              <a:t>Anteriormente, quando a equipe de psiquiatria recebia um paciente com suspeita de quadro orgânico, era necessário que a avaliação e o tratamento por clínica médica acontecessem primeiro.</a:t>
            </a:r>
            <a:br>
              <a:rPr lang="pt-BR" sz="2400" dirty="0">
                <a:solidFill>
                  <a:srgbClr val="000000"/>
                </a:solidFill>
                <a:latin typeface="Inter"/>
              </a:rPr>
            </a:br>
            <a:endParaRPr lang="pt-BR" sz="2400" dirty="0">
              <a:solidFill>
                <a:srgbClr val="000000"/>
              </a:solidFill>
              <a:latin typeface="Inter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000000"/>
                </a:solidFill>
                <a:latin typeface="Inter"/>
              </a:rPr>
              <a:t>Essa avaliação, muitas vezes, atrasava o atendimento devido ao fluxo interno do hospital.</a:t>
            </a:r>
          </a:p>
          <a:p>
            <a:br>
              <a:rPr lang="pt-BR" sz="2400" dirty="0"/>
            </a:br>
            <a:endParaRPr lang="pt-BR" sz="2400" dirty="0"/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A68E2AA2-B848-4EE5-A9A2-94FF8CAA217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87815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18">
            <a:extLst>
              <a:ext uri="{FF2B5EF4-FFF2-40B4-BE49-F238E27FC236}">
                <a16:creationId xmlns:a16="http://schemas.microsoft.com/office/drawing/2014/main" id="{DD20F848-98FE-4DB5-9673-99E4B2C97646}"/>
              </a:ext>
            </a:extLst>
          </p:cNvPr>
          <p:cNvSpPr txBox="1"/>
          <p:nvPr/>
        </p:nvSpPr>
        <p:spPr>
          <a:xfrm>
            <a:off x="6136180" y="5594655"/>
            <a:ext cx="4881832" cy="58221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5180"/>
              </a:lnSpc>
              <a:spcBef>
                <a:spcPct val="0"/>
              </a:spcBef>
            </a:pPr>
            <a:r>
              <a:rPr lang="en-US" sz="2589" dirty="0">
                <a:solidFill>
                  <a:srgbClr val="FFFFFF"/>
                </a:solidFill>
                <a:latin typeface="Montserrat" pitchFamily="2" charset="0"/>
                <a:ea typeface="Montserrat"/>
                <a:cs typeface="Montserrat"/>
                <a:sym typeface="Montserrat"/>
              </a:rPr>
              <a:t>Proposta PDLM 2025</a:t>
            </a:r>
          </a:p>
        </p:txBody>
      </p:sp>
      <p:grpSp>
        <p:nvGrpSpPr>
          <p:cNvPr id="26" name="Group 19">
            <a:extLst>
              <a:ext uri="{FF2B5EF4-FFF2-40B4-BE49-F238E27FC236}">
                <a16:creationId xmlns:a16="http://schemas.microsoft.com/office/drawing/2014/main" id="{11529124-67A0-4754-BA29-61BC3E2D871E}"/>
              </a:ext>
            </a:extLst>
          </p:cNvPr>
          <p:cNvGrpSpPr/>
          <p:nvPr/>
        </p:nvGrpSpPr>
        <p:grpSpPr>
          <a:xfrm>
            <a:off x="5192302" y="5723303"/>
            <a:ext cx="514666" cy="514666"/>
            <a:chOff x="0" y="0"/>
            <a:chExt cx="6350000" cy="6350000"/>
          </a:xfrm>
          <a:solidFill>
            <a:srgbClr val="192E4D"/>
          </a:solidFill>
        </p:grpSpPr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DA002E7E-D4B2-4EDF-BD1B-2A2FD6FE5152}"/>
                </a:ext>
              </a:extLst>
            </p:cNvPr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3175000" y="0"/>
                  </a:moveTo>
                  <a:cubicBezTo>
                    <a:pt x="1421496" y="0"/>
                    <a:pt x="0" y="1421496"/>
                    <a:pt x="0" y="3175000"/>
                  </a:cubicBezTo>
                  <a:cubicBezTo>
                    <a:pt x="0" y="4928504"/>
                    <a:pt x="1421496" y="6350000"/>
                    <a:pt x="3175000" y="6350000"/>
                  </a:cubicBezTo>
                  <a:cubicBezTo>
                    <a:pt x="4928504" y="6350000"/>
                    <a:pt x="6350000" y="4928504"/>
                    <a:pt x="6350000" y="3175000"/>
                  </a:cubicBezTo>
                  <a:cubicBezTo>
                    <a:pt x="6350000" y="1421496"/>
                    <a:pt x="4928504" y="0"/>
                    <a:pt x="3175000" y="0"/>
                  </a:cubicBezTo>
                  <a:close/>
                </a:path>
              </a:pathLst>
            </a:custGeom>
            <a:grpFill/>
          </p:spPr>
        </p:sp>
      </p:grpSp>
      <p:sp>
        <p:nvSpPr>
          <p:cNvPr id="28" name="TextBox 21">
            <a:extLst>
              <a:ext uri="{FF2B5EF4-FFF2-40B4-BE49-F238E27FC236}">
                <a16:creationId xmlns:a16="http://schemas.microsoft.com/office/drawing/2014/main" id="{1B4A1D4C-F647-4CD3-8928-0F53F8685E42}"/>
              </a:ext>
            </a:extLst>
          </p:cNvPr>
          <p:cNvSpPr txBox="1"/>
          <p:nvPr/>
        </p:nvSpPr>
        <p:spPr>
          <a:xfrm>
            <a:off x="5267898" y="5716349"/>
            <a:ext cx="363474" cy="441531"/>
          </a:xfrm>
          <a:prstGeom prst="rect">
            <a:avLst/>
          </a:prstGeom>
          <a:noFill/>
        </p:spPr>
        <p:txBody>
          <a:bodyPr lIns="0" tIns="0" rIns="0" bIns="0" rtlCol="0" anchor="t">
            <a:spAutoFit/>
          </a:bodyPr>
          <a:lstStyle/>
          <a:p>
            <a:pPr marL="0" lvl="1" algn="ctr">
              <a:lnSpc>
                <a:spcPts val="3768"/>
              </a:lnSpc>
              <a:spcBef>
                <a:spcPct val="0"/>
              </a:spcBef>
            </a:pPr>
            <a:r>
              <a:rPr lang="en-US" sz="2400" b="1" dirty="0">
                <a:solidFill>
                  <a:srgbClr val="B3C7BA"/>
                </a:solidFill>
                <a:latin typeface="Montserrat" pitchFamily="2" charset="0"/>
                <a:ea typeface="Montserrat Bold"/>
                <a:cs typeface="Montserrat Bold"/>
                <a:sym typeface="Montserrat Bold"/>
              </a:rPr>
              <a:t>6</a:t>
            </a:r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8B4BB860-35A1-4C23-B908-B449AE48FF7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738"/>
          <a:stretch/>
        </p:blipFill>
        <p:spPr>
          <a:xfrm>
            <a:off x="0" y="5707717"/>
            <a:ext cx="12192000" cy="1175683"/>
          </a:xfrm>
          <a:prstGeom prst="rect">
            <a:avLst/>
          </a:prstGeom>
        </p:spPr>
      </p:pic>
      <p:sp>
        <p:nvSpPr>
          <p:cNvPr id="14" name="Retângulo 13">
            <a:extLst>
              <a:ext uri="{FF2B5EF4-FFF2-40B4-BE49-F238E27FC236}">
                <a16:creationId xmlns:a16="http://schemas.microsoft.com/office/drawing/2014/main" id="{AD7556BA-183C-4C09-8046-D09C61522E55}"/>
              </a:ext>
            </a:extLst>
          </p:cNvPr>
          <p:cNvSpPr/>
          <p:nvPr/>
        </p:nvSpPr>
        <p:spPr>
          <a:xfrm>
            <a:off x="2402763" y="988498"/>
            <a:ext cx="62476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>
                <a:solidFill>
                  <a:srgbClr val="000000"/>
                </a:solidFill>
                <a:latin typeface="Inter"/>
              </a:rPr>
              <a:t>Histórico da Psiquiatria no Hospital </a:t>
            </a:r>
            <a:r>
              <a:rPr lang="pt-BR" sz="2400" b="1" dirty="0" err="1">
                <a:solidFill>
                  <a:srgbClr val="000000"/>
                </a:solidFill>
                <a:latin typeface="Inter"/>
              </a:rPr>
              <a:t>Mboi</a:t>
            </a:r>
            <a:r>
              <a:rPr lang="pt-BR" sz="2400" b="1" dirty="0">
                <a:solidFill>
                  <a:srgbClr val="000000"/>
                </a:solidFill>
                <a:latin typeface="Inter"/>
              </a:rPr>
              <a:t> Mirim</a:t>
            </a:r>
            <a:endParaRPr lang="pt-BR" sz="2400" dirty="0"/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9258ABFE-C9FA-4049-B332-1A19FC2AB6C6}"/>
              </a:ext>
            </a:extLst>
          </p:cNvPr>
          <p:cNvSpPr/>
          <p:nvPr/>
        </p:nvSpPr>
        <p:spPr>
          <a:xfrm>
            <a:off x="1981200" y="1955800"/>
            <a:ext cx="8229600" cy="27181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pt-BR" sz="2133" u="sng" dirty="0">
                <a:solidFill>
                  <a:srgbClr val="000000"/>
                </a:solidFill>
                <a:latin typeface="Inter"/>
              </a:rPr>
              <a:t>Como os problemas orgânicos podem ser potencialmente graves ou fatais, foi decidido que:</a:t>
            </a:r>
          </a:p>
          <a:p>
            <a:pPr marL="495325" lvl="1" indent="-190510">
              <a:buFont typeface="Arial" panose="020B0604020202020204" pitchFamily="34" charset="0"/>
              <a:buChar char="•"/>
            </a:pPr>
            <a:r>
              <a:rPr lang="pt-BR" sz="2133" dirty="0">
                <a:solidFill>
                  <a:srgbClr val="000000"/>
                </a:solidFill>
                <a:latin typeface="Inter"/>
              </a:rPr>
              <a:t>Todas as fichas, inclusive as de quadros psiquiátricos, deveriam primeiro passar pela avaliação da clínica médica.</a:t>
            </a:r>
          </a:p>
          <a:p>
            <a:pPr marL="495325" lvl="1" indent="-190510">
              <a:buFont typeface="Arial" panose="020B0604020202020204" pitchFamily="34" charset="0"/>
              <a:buChar char="•"/>
            </a:pPr>
            <a:r>
              <a:rPr lang="pt-BR" sz="2133" dirty="0">
                <a:solidFill>
                  <a:srgbClr val="000000"/>
                </a:solidFill>
                <a:latin typeface="Inter"/>
              </a:rPr>
              <a:t>Assim, caso fosse necessário, já seriam solicitados exames e intervenções clínicas imediatamente.</a:t>
            </a:r>
          </a:p>
          <a:p>
            <a:pPr marL="495325" lvl="1" indent="-190510">
              <a:buFont typeface="Arial" panose="020B0604020202020204" pitchFamily="34" charset="0"/>
              <a:buChar char="•"/>
            </a:pPr>
            <a:r>
              <a:rPr lang="pt-BR" sz="2133" dirty="0">
                <a:solidFill>
                  <a:srgbClr val="000000"/>
                </a:solidFill>
                <a:latin typeface="Inter"/>
              </a:rPr>
              <a:t>Após essa avaliação, se os sintomas persistirem sem causa orgânica aparente, a avaliação psiquiátrica será realizada</a:t>
            </a:r>
            <a:r>
              <a:rPr lang="pt-BR" sz="1200" dirty="0">
                <a:solidFill>
                  <a:srgbClr val="000000"/>
                </a:solidFill>
                <a:latin typeface="Inter"/>
              </a:rPr>
              <a:t>.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1FC57D14-28B2-4D55-B3CD-7B4782CDE6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39851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18">
            <a:extLst>
              <a:ext uri="{FF2B5EF4-FFF2-40B4-BE49-F238E27FC236}">
                <a16:creationId xmlns:a16="http://schemas.microsoft.com/office/drawing/2014/main" id="{DD20F848-98FE-4DB5-9673-99E4B2C97646}"/>
              </a:ext>
            </a:extLst>
          </p:cNvPr>
          <p:cNvSpPr txBox="1"/>
          <p:nvPr/>
        </p:nvSpPr>
        <p:spPr>
          <a:xfrm>
            <a:off x="6136180" y="5594655"/>
            <a:ext cx="4881832" cy="58221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5180"/>
              </a:lnSpc>
              <a:spcBef>
                <a:spcPct val="0"/>
              </a:spcBef>
            </a:pPr>
            <a:r>
              <a:rPr lang="en-US" sz="2589" dirty="0">
                <a:solidFill>
                  <a:srgbClr val="FFFFFF"/>
                </a:solidFill>
                <a:latin typeface="Montserrat" pitchFamily="2" charset="0"/>
                <a:ea typeface="Montserrat"/>
                <a:cs typeface="Montserrat"/>
                <a:sym typeface="Montserrat"/>
              </a:rPr>
              <a:t>Proposta PDLM 2025</a:t>
            </a:r>
          </a:p>
        </p:txBody>
      </p:sp>
      <p:grpSp>
        <p:nvGrpSpPr>
          <p:cNvPr id="26" name="Group 19">
            <a:extLst>
              <a:ext uri="{FF2B5EF4-FFF2-40B4-BE49-F238E27FC236}">
                <a16:creationId xmlns:a16="http://schemas.microsoft.com/office/drawing/2014/main" id="{11529124-67A0-4754-BA29-61BC3E2D871E}"/>
              </a:ext>
            </a:extLst>
          </p:cNvPr>
          <p:cNvGrpSpPr/>
          <p:nvPr/>
        </p:nvGrpSpPr>
        <p:grpSpPr>
          <a:xfrm>
            <a:off x="5192302" y="5723303"/>
            <a:ext cx="514666" cy="514666"/>
            <a:chOff x="0" y="0"/>
            <a:chExt cx="6350000" cy="6350000"/>
          </a:xfrm>
          <a:solidFill>
            <a:srgbClr val="192E4D"/>
          </a:solidFill>
        </p:grpSpPr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DA002E7E-D4B2-4EDF-BD1B-2A2FD6FE5152}"/>
                </a:ext>
              </a:extLst>
            </p:cNvPr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3175000" y="0"/>
                  </a:moveTo>
                  <a:cubicBezTo>
                    <a:pt x="1421496" y="0"/>
                    <a:pt x="0" y="1421496"/>
                    <a:pt x="0" y="3175000"/>
                  </a:cubicBezTo>
                  <a:cubicBezTo>
                    <a:pt x="0" y="4928504"/>
                    <a:pt x="1421496" y="6350000"/>
                    <a:pt x="3175000" y="6350000"/>
                  </a:cubicBezTo>
                  <a:cubicBezTo>
                    <a:pt x="4928504" y="6350000"/>
                    <a:pt x="6350000" y="4928504"/>
                    <a:pt x="6350000" y="3175000"/>
                  </a:cubicBezTo>
                  <a:cubicBezTo>
                    <a:pt x="6350000" y="1421496"/>
                    <a:pt x="4928504" y="0"/>
                    <a:pt x="3175000" y="0"/>
                  </a:cubicBezTo>
                  <a:close/>
                </a:path>
              </a:pathLst>
            </a:custGeom>
            <a:grpFill/>
          </p:spPr>
        </p:sp>
      </p:grpSp>
      <p:sp>
        <p:nvSpPr>
          <p:cNvPr id="28" name="TextBox 21">
            <a:extLst>
              <a:ext uri="{FF2B5EF4-FFF2-40B4-BE49-F238E27FC236}">
                <a16:creationId xmlns:a16="http://schemas.microsoft.com/office/drawing/2014/main" id="{1B4A1D4C-F647-4CD3-8928-0F53F8685E42}"/>
              </a:ext>
            </a:extLst>
          </p:cNvPr>
          <p:cNvSpPr txBox="1"/>
          <p:nvPr/>
        </p:nvSpPr>
        <p:spPr>
          <a:xfrm>
            <a:off x="5267898" y="5716349"/>
            <a:ext cx="363474" cy="441531"/>
          </a:xfrm>
          <a:prstGeom prst="rect">
            <a:avLst/>
          </a:prstGeom>
          <a:noFill/>
        </p:spPr>
        <p:txBody>
          <a:bodyPr lIns="0" tIns="0" rIns="0" bIns="0" rtlCol="0" anchor="t">
            <a:spAutoFit/>
          </a:bodyPr>
          <a:lstStyle/>
          <a:p>
            <a:pPr marL="0" lvl="1" algn="ctr">
              <a:lnSpc>
                <a:spcPts val="3768"/>
              </a:lnSpc>
              <a:spcBef>
                <a:spcPct val="0"/>
              </a:spcBef>
            </a:pPr>
            <a:r>
              <a:rPr lang="en-US" sz="2400" b="1" dirty="0">
                <a:solidFill>
                  <a:srgbClr val="B3C7BA"/>
                </a:solidFill>
                <a:latin typeface="Montserrat" pitchFamily="2" charset="0"/>
                <a:ea typeface="Montserrat Bold"/>
                <a:cs typeface="Montserrat Bold"/>
                <a:sym typeface="Montserrat Bold"/>
              </a:rPr>
              <a:t>6</a:t>
            </a:r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8B4BB860-35A1-4C23-B908-B449AE48FF7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738"/>
          <a:stretch/>
        </p:blipFill>
        <p:spPr>
          <a:xfrm>
            <a:off x="0" y="5707717"/>
            <a:ext cx="12192000" cy="1175683"/>
          </a:xfrm>
          <a:prstGeom prst="rect">
            <a:avLst/>
          </a:prstGeom>
        </p:spPr>
      </p:pic>
      <p:sp>
        <p:nvSpPr>
          <p:cNvPr id="14" name="Retângulo 13">
            <a:extLst>
              <a:ext uri="{FF2B5EF4-FFF2-40B4-BE49-F238E27FC236}">
                <a16:creationId xmlns:a16="http://schemas.microsoft.com/office/drawing/2014/main" id="{AD7556BA-183C-4C09-8046-D09C61522E55}"/>
              </a:ext>
            </a:extLst>
          </p:cNvPr>
          <p:cNvSpPr/>
          <p:nvPr/>
        </p:nvSpPr>
        <p:spPr>
          <a:xfrm>
            <a:off x="1574800" y="228539"/>
            <a:ext cx="62476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>
                <a:solidFill>
                  <a:srgbClr val="000000"/>
                </a:solidFill>
                <a:latin typeface="Inter"/>
              </a:rPr>
              <a:t>Histórico da Psiquiatria no Hospital </a:t>
            </a:r>
            <a:r>
              <a:rPr lang="pt-BR" sz="2400" b="1" dirty="0" err="1">
                <a:solidFill>
                  <a:srgbClr val="000000"/>
                </a:solidFill>
                <a:latin typeface="Inter"/>
              </a:rPr>
              <a:t>Mboi</a:t>
            </a:r>
            <a:r>
              <a:rPr lang="pt-BR" sz="2400" b="1" dirty="0">
                <a:solidFill>
                  <a:srgbClr val="000000"/>
                </a:solidFill>
                <a:latin typeface="Inter"/>
              </a:rPr>
              <a:t> Mirim</a:t>
            </a:r>
            <a:endParaRPr lang="pt-BR" sz="2400" dirty="0"/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2FEF27E5-F19C-4B00-BD15-0141D1C9B788}"/>
              </a:ext>
            </a:extLst>
          </p:cNvPr>
          <p:cNvSpPr/>
          <p:nvPr/>
        </p:nvSpPr>
        <p:spPr>
          <a:xfrm>
            <a:off x="796592" y="642913"/>
            <a:ext cx="8331200" cy="55514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867" b="1" dirty="0">
                <a:solidFill>
                  <a:srgbClr val="000000"/>
                </a:solidFill>
                <a:latin typeface="Inter"/>
              </a:rPr>
              <a:t>Para triagem dos pacientes que chegam na porta é usado </a:t>
            </a:r>
            <a:br>
              <a:rPr lang="pt-BR" sz="1867" b="1" dirty="0">
                <a:solidFill>
                  <a:srgbClr val="000000"/>
                </a:solidFill>
                <a:latin typeface="Inter"/>
              </a:rPr>
            </a:br>
            <a:r>
              <a:rPr lang="pt-BR" sz="1867" b="1" u="sng" dirty="0">
                <a:solidFill>
                  <a:srgbClr val="000000"/>
                </a:solidFill>
                <a:latin typeface="Inter"/>
              </a:rPr>
              <a:t>Escala de Classificação de Emergência de Manchester</a:t>
            </a:r>
            <a:endParaRPr lang="pt-BR" sz="1867" u="sng" dirty="0">
              <a:solidFill>
                <a:srgbClr val="000000"/>
              </a:solidFill>
              <a:latin typeface="Inter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1867" b="1" dirty="0">
                <a:solidFill>
                  <a:srgbClr val="000000"/>
                </a:solidFill>
                <a:latin typeface="Inter"/>
              </a:rPr>
              <a:t>Cor </a:t>
            </a:r>
            <a:r>
              <a:rPr lang="pt-BR" sz="1867" b="1" dirty="0">
                <a:solidFill>
                  <a:srgbClr val="FF0000"/>
                </a:solidFill>
                <a:latin typeface="Inter"/>
              </a:rPr>
              <a:t>vermelha</a:t>
            </a:r>
            <a:r>
              <a:rPr lang="pt-BR" sz="1867" b="1" dirty="0">
                <a:solidFill>
                  <a:srgbClr val="000000"/>
                </a:solidFill>
                <a:latin typeface="Inter"/>
              </a:rPr>
              <a:t> (Emergência IMEDIATA)</a:t>
            </a:r>
            <a:endParaRPr lang="pt-BR" sz="1867" dirty="0">
              <a:solidFill>
                <a:srgbClr val="000000"/>
              </a:solidFill>
              <a:latin typeface="Inter"/>
            </a:endParaRPr>
          </a:p>
          <a:p>
            <a:pPr marL="495325" lvl="1" indent="-190510"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Tempo de atendimento: até 10 minutos</a:t>
            </a:r>
          </a:p>
          <a:p>
            <a:pPr marL="495325" lvl="1" indent="-190510"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Paciente com risco de vida ou condição grave que necessita de intervenção rápid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67" b="1" dirty="0">
                <a:solidFill>
                  <a:srgbClr val="000000"/>
                </a:solidFill>
                <a:latin typeface="Inter"/>
              </a:rPr>
              <a:t>Cor </a:t>
            </a:r>
            <a:r>
              <a:rPr lang="pt-BR" sz="1867" b="1" dirty="0">
                <a:solidFill>
                  <a:srgbClr val="FFC000"/>
                </a:solidFill>
                <a:latin typeface="Inter"/>
              </a:rPr>
              <a:t>laranja </a:t>
            </a:r>
            <a:r>
              <a:rPr lang="pt-BR" sz="1867" b="1" dirty="0">
                <a:solidFill>
                  <a:srgbClr val="000000"/>
                </a:solidFill>
                <a:latin typeface="Inter"/>
              </a:rPr>
              <a:t>(Muito urgente)</a:t>
            </a:r>
            <a:endParaRPr lang="pt-BR" sz="1867" dirty="0">
              <a:solidFill>
                <a:srgbClr val="000000"/>
              </a:solidFill>
              <a:latin typeface="Inter"/>
            </a:endParaRPr>
          </a:p>
          <a:p>
            <a:pPr marL="495325" lvl="1" indent="-190510"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Tempo de atendimento: até 10-30 minutos</a:t>
            </a:r>
          </a:p>
          <a:p>
            <a:pPr marL="495325" lvl="1" indent="-190510"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Situações graves, mas que não colocam a vida em risco imediato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67" b="1" dirty="0">
                <a:solidFill>
                  <a:srgbClr val="000000"/>
                </a:solidFill>
                <a:latin typeface="Inter"/>
              </a:rPr>
              <a:t>Cor</a:t>
            </a:r>
            <a:r>
              <a:rPr lang="pt-BR" sz="1867" b="1" dirty="0">
                <a:solidFill>
                  <a:srgbClr val="FFFF00"/>
                </a:solidFill>
                <a:latin typeface="Inter"/>
              </a:rPr>
              <a:t> amarela </a:t>
            </a:r>
            <a:r>
              <a:rPr lang="pt-BR" sz="1867" b="1" dirty="0">
                <a:solidFill>
                  <a:srgbClr val="000000"/>
                </a:solidFill>
                <a:latin typeface="Inter"/>
              </a:rPr>
              <a:t>(Urgente)</a:t>
            </a:r>
            <a:endParaRPr lang="pt-BR" sz="1867" dirty="0">
              <a:solidFill>
                <a:srgbClr val="000000"/>
              </a:solidFill>
              <a:latin typeface="Inter"/>
            </a:endParaRPr>
          </a:p>
          <a:p>
            <a:pPr marL="495325" lvl="1" indent="-190510"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Tempo de atendimento: até 60 minutos</a:t>
            </a:r>
          </a:p>
          <a:p>
            <a:pPr marL="495325" lvl="1" indent="-190510"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Condições que requerem avaliação rápida, mas não ameaçam a vida a curto prazo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67" b="1" dirty="0">
                <a:solidFill>
                  <a:srgbClr val="000000"/>
                </a:solidFill>
                <a:latin typeface="Inter"/>
              </a:rPr>
              <a:t>Cor </a:t>
            </a:r>
            <a:r>
              <a:rPr lang="pt-BR" sz="1867" b="1" dirty="0">
                <a:solidFill>
                  <a:srgbClr val="00B050"/>
                </a:solidFill>
                <a:latin typeface="Inter"/>
              </a:rPr>
              <a:t>verde</a:t>
            </a:r>
            <a:r>
              <a:rPr lang="pt-BR" sz="1867" b="1" dirty="0">
                <a:solidFill>
                  <a:srgbClr val="000000"/>
                </a:solidFill>
                <a:latin typeface="Inter"/>
              </a:rPr>
              <a:t> (Pouco urgente)</a:t>
            </a:r>
            <a:endParaRPr lang="pt-BR" sz="1867" dirty="0">
              <a:solidFill>
                <a:srgbClr val="000000"/>
              </a:solidFill>
              <a:latin typeface="Inter"/>
            </a:endParaRPr>
          </a:p>
          <a:p>
            <a:pPr marL="495325" lvl="1" indent="-190510"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Tempo de atendimento: até 120 minutos</a:t>
            </a:r>
          </a:p>
          <a:p>
            <a:pPr marL="495325" lvl="1" indent="-190510"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Casos que podem esperar sem risco imediato de agravamento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67" b="1" dirty="0">
                <a:solidFill>
                  <a:srgbClr val="000000"/>
                </a:solidFill>
                <a:latin typeface="Inter"/>
              </a:rPr>
              <a:t>Cor </a:t>
            </a:r>
            <a:r>
              <a:rPr lang="pt-BR" sz="1867" b="1" dirty="0">
                <a:solidFill>
                  <a:srgbClr val="0070C0"/>
                </a:solidFill>
                <a:latin typeface="Inter"/>
              </a:rPr>
              <a:t>azul </a:t>
            </a:r>
            <a:r>
              <a:rPr lang="pt-BR" sz="1867" b="1" dirty="0">
                <a:solidFill>
                  <a:srgbClr val="000000"/>
                </a:solidFill>
                <a:latin typeface="Inter"/>
              </a:rPr>
              <a:t>(Não urgente)</a:t>
            </a:r>
            <a:endParaRPr lang="pt-BR" sz="1867" dirty="0">
              <a:solidFill>
                <a:srgbClr val="000000"/>
              </a:solidFill>
              <a:latin typeface="Inter"/>
            </a:endParaRPr>
          </a:p>
          <a:p>
            <a:pPr marL="495325" lvl="1" indent="-190510"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Tempo de atendimento: além de 120 minutos</a:t>
            </a:r>
          </a:p>
          <a:p>
            <a:pPr marL="495325" lvl="1" indent="-190510"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Situações de menor gravidade, sem risco iminente à vida</a:t>
            </a:r>
          </a:p>
        </p:txBody>
      </p:sp>
      <p:sp>
        <p:nvSpPr>
          <p:cNvPr id="3" name="Chave Direita 2">
            <a:extLst>
              <a:ext uri="{FF2B5EF4-FFF2-40B4-BE49-F238E27FC236}">
                <a16:creationId xmlns:a16="http://schemas.microsoft.com/office/drawing/2014/main" id="{76E6F1BD-C73F-47BC-A7E6-C19E7D272CB1}"/>
              </a:ext>
            </a:extLst>
          </p:cNvPr>
          <p:cNvSpPr/>
          <p:nvPr/>
        </p:nvSpPr>
        <p:spPr>
          <a:xfrm>
            <a:off x="8890000" y="3073400"/>
            <a:ext cx="914400" cy="263431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1200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FDC6F987-090D-4788-9BB0-7F8E70C12A10}"/>
              </a:ext>
            </a:extLst>
          </p:cNvPr>
          <p:cNvSpPr txBox="1"/>
          <p:nvPr/>
        </p:nvSpPr>
        <p:spPr>
          <a:xfrm>
            <a:off x="9924384" y="3987800"/>
            <a:ext cx="263383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Pacientes com sintomas psiquiátricos</a:t>
            </a:r>
            <a:br>
              <a:rPr lang="pt-BR" sz="1600" dirty="0"/>
            </a:br>
            <a:r>
              <a:rPr lang="pt-BR" sz="1600" dirty="0"/>
              <a:t>abrem no máximo cor “amarela”</a:t>
            </a: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E166CAE7-26B1-4140-962D-59A74F5DC80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26833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18">
            <a:extLst>
              <a:ext uri="{FF2B5EF4-FFF2-40B4-BE49-F238E27FC236}">
                <a16:creationId xmlns:a16="http://schemas.microsoft.com/office/drawing/2014/main" id="{DD20F848-98FE-4DB5-9673-99E4B2C97646}"/>
              </a:ext>
            </a:extLst>
          </p:cNvPr>
          <p:cNvSpPr txBox="1"/>
          <p:nvPr/>
        </p:nvSpPr>
        <p:spPr>
          <a:xfrm>
            <a:off x="6136180" y="5594655"/>
            <a:ext cx="4881832" cy="58221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5180"/>
              </a:lnSpc>
              <a:spcBef>
                <a:spcPct val="0"/>
              </a:spcBef>
            </a:pPr>
            <a:r>
              <a:rPr lang="en-US" sz="2589" dirty="0">
                <a:solidFill>
                  <a:srgbClr val="FFFFFF"/>
                </a:solidFill>
                <a:latin typeface="Montserrat" pitchFamily="2" charset="0"/>
                <a:ea typeface="Montserrat"/>
                <a:cs typeface="Montserrat"/>
                <a:sym typeface="Montserrat"/>
              </a:rPr>
              <a:t>Proposta PDLM 2025</a:t>
            </a:r>
          </a:p>
        </p:txBody>
      </p:sp>
      <p:grpSp>
        <p:nvGrpSpPr>
          <p:cNvPr id="26" name="Group 19">
            <a:extLst>
              <a:ext uri="{FF2B5EF4-FFF2-40B4-BE49-F238E27FC236}">
                <a16:creationId xmlns:a16="http://schemas.microsoft.com/office/drawing/2014/main" id="{11529124-67A0-4754-BA29-61BC3E2D871E}"/>
              </a:ext>
            </a:extLst>
          </p:cNvPr>
          <p:cNvGrpSpPr/>
          <p:nvPr/>
        </p:nvGrpSpPr>
        <p:grpSpPr>
          <a:xfrm>
            <a:off x="5192302" y="5723303"/>
            <a:ext cx="514666" cy="514666"/>
            <a:chOff x="0" y="0"/>
            <a:chExt cx="6350000" cy="6350000"/>
          </a:xfrm>
          <a:solidFill>
            <a:srgbClr val="192E4D"/>
          </a:solidFill>
        </p:grpSpPr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DA002E7E-D4B2-4EDF-BD1B-2A2FD6FE5152}"/>
                </a:ext>
              </a:extLst>
            </p:cNvPr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3175000" y="0"/>
                  </a:moveTo>
                  <a:cubicBezTo>
                    <a:pt x="1421496" y="0"/>
                    <a:pt x="0" y="1421496"/>
                    <a:pt x="0" y="3175000"/>
                  </a:cubicBezTo>
                  <a:cubicBezTo>
                    <a:pt x="0" y="4928504"/>
                    <a:pt x="1421496" y="6350000"/>
                    <a:pt x="3175000" y="6350000"/>
                  </a:cubicBezTo>
                  <a:cubicBezTo>
                    <a:pt x="4928504" y="6350000"/>
                    <a:pt x="6350000" y="4928504"/>
                    <a:pt x="6350000" y="3175000"/>
                  </a:cubicBezTo>
                  <a:cubicBezTo>
                    <a:pt x="6350000" y="1421496"/>
                    <a:pt x="4928504" y="0"/>
                    <a:pt x="3175000" y="0"/>
                  </a:cubicBezTo>
                  <a:close/>
                </a:path>
              </a:pathLst>
            </a:custGeom>
            <a:grpFill/>
          </p:spPr>
        </p:sp>
      </p:grpSp>
      <p:sp>
        <p:nvSpPr>
          <p:cNvPr id="28" name="TextBox 21">
            <a:extLst>
              <a:ext uri="{FF2B5EF4-FFF2-40B4-BE49-F238E27FC236}">
                <a16:creationId xmlns:a16="http://schemas.microsoft.com/office/drawing/2014/main" id="{1B4A1D4C-F647-4CD3-8928-0F53F8685E42}"/>
              </a:ext>
            </a:extLst>
          </p:cNvPr>
          <p:cNvSpPr txBox="1"/>
          <p:nvPr/>
        </p:nvSpPr>
        <p:spPr>
          <a:xfrm>
            <a:off x="5267898" y="5716349"/>
            <a:ext cx="363474" cy="441531"/>
          </a:xfrm>
          <a:prstGeom prst="rect">
            <a:avLst/>
          </a:prstGeom>
          <a:noFill/>
        </p:spPr>
        <p:txBody>
          <a:bodyPr lIns="0" tIns="0" rIns="0" bIns="0" rtlCol="0" anchor="t">
            <a:spAutoFit/>
          </a:bodyPr>
          <a:lstStyle/>
          <a:p>
            <a:pPr marL="0" lvl="1" algn="ctr">
              <a:lnSpc>
                <a:spcPts val="3768"/>
              </a:lnSpc>
              <a:spcBef>
                <a:spcPct val="0"/>
              </a:spcBef>
            </a:pPr>
            <a:r>
              <a:rPr lang="en-US" sz="2400" b="1" dirty="0">
                <a:solidFill>
                  <a:srgbClr val="B3C7BA"/>
                </a:solidFill>
                <a:latin typeface="Montserrat" pitchFamily="2" charset="0"/>
                <a:ea typeface="Montserrat Bold"/>
                <a:cs typeface="Montserrat Bold"/>
                <a:sym typeface="Montserrat Bold"/>
              </a:rPr>
              <a:t>6</a:t>
            </a:r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8B4BB860-35A1-4C23-B908-B449AE48FF7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738"/>
          <a:stretch/>
        </p:blipFill>
        <p:spPr>
          <a:xfrm>
            <a:off x="0" y="5707717"/>
            <a:ext cx="12192000" cy="1175683"/>
          </a:xfrm>
          <a:prstGeom prst="rect">
            <a:avLst/>
          </a:prstGeom>
        </p:spPr>
      </p:pic>
      <p:sp>
        <p:nvSpPr>
          <p:cNvPr id="14" name="Retângulo 13">
            <a:extLst>
              <a:ext uri="{FF2B5EF4-FFF2-40B4-BE49-F238E27FC236}">
                <a16:creationId xmlns:a16="http://schemas.microsoft.com/office/drawing/2014/main" id="{AD7556BA-183C-4C09-8046-D09C61522E55}"/>
              </a:ext>
            </a:extLst>
          </p:cNvPr>
          <p:cNvSpPr/>
          <p:nvPr/>
        </p:nvSpPr>
        <p:spPr>
          <a:xfrm>
            <a:off x="2532660" y="244702"/>
            <a:ext cx="540699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>
                <a:solidFill>
                  <a:srgbClr val="000000"/>
                </a:solidFill>
                <a:latin typeface="Inter"/>
              </a:rPr>
              <a:t>Fluxo Psiquiatria no Hospital </a:t>
            </a:r>
            <a:r>
              <a:rPr lang="pt-BR" sz="2400" b="1" dirty="0" err="1">
                <a:solidFill>
                  <a:srgbClr val="000000"/>
                </a:solidFill>
                <a:latin typeface="Inter"/>
              </a:rPr>
              <a:t>Mboi</a:t>
            </a:r>
            <a:r>
              <a:rPr lang="pt-BR" sz="2400" b="1" dirty="0">
                <a:solidFill>
                  <a:srgbClr val="000000"/>
                </a:solidFill>
                <a:latin typeface="Inter"/>
              </a:rPr>
              <a:t> Mirim</a:t>
            </a:r>
            <a:endParaRPr lang="pt-BR" sz="2400" dirty="0"/>
          </a:p>
        </p:txBody>
      </p:sp>
      <p:pic>
        <p:nvPicPr>
          <p:cNvPr id="1026" name="Picture 2" descr="Paciente Do Sexo Masculino Esperando No Lobby Da Recepção Hospitalar Para  Ir Ao Exame Médico Imagem de Stock - Imagem de conselho, senior: 251826469">
            <a:extLst>
              <a:ext uri="{FF2B5EF4-FFF2-40B4-BE49-F238E27FC236}">
                <a16:creationId xmlns:a16="http://schemas.microsoft.com/office/drawing/2014/main" id="{B7DD914F-65E3-44DC-B527-7854298575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084" y="1320439"/>
            <a:ext cx="1905000" cy="106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D712E4A0-5562-4C45-85FF-45622ACC3F93}"/>
              </a:ext>
            </a:extLst>
          </p:cNvPr>
          <p:cNvSpPr txBox="1"/>
          <p:nvPr/>
        </p:nvSpPr>
        <p:spPr>
          <a:xfrm>
            <a:off x="759740" y="2387240"/>
            <a:ext cx="18745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Paciente chega para triagem com sintomas psiquiátricos</a:t>
            </a:r>
          </a:p>
        </p:txBody>
      </p:sp>
      <p:cxnSp>
        <p:nvCxnSpPr>
          <p:cNvPr id="4" name="Conector de Seta Reta 3">
            <a:extLst>
              <a:ext uri="{FF2B5EF4-FFF2-40B4-BE49-F238E27FC236}">
                <a16:creationId xmlns:a16="http://schemas.microsoft.com/office/drawing/2014/main" id="{D60836ED-858D-4226-8C7A-10BB72E2A7CB}"/>
              </a:ext>
            </a:extLst>
          </p:cNvPr>
          <p:cNvCxnSpPr/>
          <p:nvPr/>
        </p:nvCxnSpPr>
        <p:spPr>
          <a:xfrm>
            <a:off x="2634260" y="1905000"/>
            <a:ext cx="10741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8" name="Picture 4" descr="Pulseira De Classificação De Risco - Hospitalar - Amarela Cor Amarelo |  Frete grátis">
            <a:extLst>
              <a:ext uri="{FF2B5EF4-FFF2-40B4-BE49-F238E27FC236}">
                <a16:creationId xmlns:a16="http://schemas.microsoft.com/office/drawing/2014/main" id="{7B081025-01E5-4FBB-B202-C98F577A4D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8170" y="964839"/>
            <a:ext cx="1428750" cy="142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DF325E7F-00ED-467C-B206-D50D8CA676A2}"/>
              </a:ext>
            </a:extLst>
          </p:cNvPr>
          <p:cNvSpPr txBox="1"/>
          <p:nvPr/>
        </p:nvSpPr>
        <p:spPr>
          <a:xfrm>
            <a:off x="3708400" y="2402178"/>
            <a:ext cx="18632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É triado pelos critérios de Manchester e recebe a pulseira.</a:t>
            </a:r>
          </a:p>
        </p:txBody>
      </p:sp>
      <p:cxnSp>
        <p:nvCxnSpPr>
          <p:cNvPr id="7" name="Conector de Seta Reta 6">
            <a:extLst>
              <a:ext uri="{FF2B5EF4-FFF2-40B4-BE49-F238E27FC236}">
                <a16:creationId xmlns:a16="http://schemas.microsoft.com/office/drawing/2014/main" id="{D2DB37BE-D5B8-4007-AAB6-A7BEC1EB944D}"/>
              </a:ext>
            </a:extLst>
          </p:cNvPr>
          <p:cNvCxnSpPr/>
          <p:nvPr/>
        </p:nvCxnSpPr>
        <p:spPr>
          <a:xfrm>
            <a:off x="5449635" y="1905000"/>
            <a:ext cx="110356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0" name="Picture 6" descr="Afinal, o que é preciso para fazer um bom atendimento médico?">
            <a:extLst>
              <a:ext uri="{FF2B5EF4-FFF2-40B4-BE49-F238E27FC236}">
                <a16:creationId xmlns:a16="http://schemas.microsoft.com/office/drawing/2014/main" id="{BBC2E8AE-A2FF-4818-82A5-92991D1BA6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5915" y="1101364"/>
            <a:ext cx="1765300" cy="1149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71D7F182-AF93-420C-A75B-A1DA52A48251}"/>
              </a:ext>
            </a:extLst>
          </p:cNvPr>
          <p:cNvSpPr txBox="1"/>
          <p:nvPr/>
        </p:nvSpPr>
        <p:spPr>
          <a:xfrm>
            <a:off x="6711742" y="2386015"/>
            <a:ext cx="23521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Passa em atendimento clinico</a:t>
            </a: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FE39DED5-4475-48EE-BA7F-5068E618B7F7}"/>
              </a:ext>
            </a:extLst>
          </p:cNvPr>
          <p:cNvSpPr/>
          <p:nvPr/>
        </p:nvSpPr>
        <p:spPr>
          <a:xfrm>
            <a:off x="5892800" y="3480125"/>
            <a:ext cx="6096000" cy="210358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1200" b="1" dirty="0">
                <a:solidFill>
                  <a:srgbClr val="000000"/>
                </a:solidFill>
                <a:latin typeface="Inter"/>
              </a:rPr>
              <a:t> </a:t>
            </a:r>
            <a:r>
              <a:rPr lang="pt-BR" sz="1867" b="1" dirty="0">
                <a:solidFill>
                  <a:srgbClr val="000000"/>
                </a:solidFill>
                <a:latin typeface="Inter"/>
              </a:rPr>
              <a:t>Após a Consulta Clínica</a:t>
            </a:r>
            <a:endParaRPr lang="pt-BR" sz="1867" dirty="0">
              <a:solidFill>
                <a:srgbClr val="000000"/>
              </a:solidFill>
              <a:latin typeface="Inter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Investigação clínica adicional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Internação clínic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Encaminhamento para </a:t>
            </a:r>
            <a:r>
              <a:rPr lang="pt-BR" sz="1867" dirty="0" err="1">
                <a:solidFill>
                  <a:srgbClr val="000000"/>
                </a:solidFill>
                <a:latin typeface="Inter"/>
              </a:rPr>
              <a:t>interconsulta</a:t>
            </a:r>
            <a:r>
              <a:rPr lang="pt-BR" sz="1867" dirty="0">
                <a:solidFill>
                  <a:srgbClr val="000000"/>
                </a:solidFill>
                <a:latin typeface="Inter"/>
              </a:rPr>
              <a:t> com psiquiatria ou outras especialidad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67" dirty="0">
                <a:solidFill>
                  <a:srgbClr val="000000"/>
                </a:solidFill>
                <a:latin typeface="Inter"/>
              </a:rPr>
              <a:t>Alta hospitalar, quando o quadro estiver estabilizado ou sem necessidade de continuidade de internação</a:t>
            </a:r>
          </a:p>
        </p:txBody>
      </p:sp>
      <p:cxnSp>
        <p:nvCxnSpPr>
          <p:cNvPr id="11" name="Conector de Seta Reta 10">
            <a:extLst>
              <a:ext uri="{FF2B5EF4-FFF2-40B4-BE49-F238E27FC236}">
                <a16:creationId xmlns:a16="http://schemas.microsoft.com/office/drawing/2014/main" id="{A45E8779-A49A-4E96-BF97-E6E388D9FDDC}"/>
              </a:ext>
            </a:extLst>
          </p:cNvPr>
          <p:cNvCxnSpPr/>
          <p:nvPr/>
        </p:nvCxnSpPr>
        <p:spPr>
          <a:xfrm>
            <a:off x="7688565" y="2657115"/>
            <a:ext cx="0" cy="7233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Imagem 17">
            <a:extLst>
              <a:ext uri="{FF2B5EF4-FFF2-40B4-BE49-F238E27FC236}">
                <a16:creationId xmlns:a16="http://schemas.microsoft.com/office/drawing/2014/main" id="{DB3AF5CF-77E4-451F-8529-CFA41E1FA01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62309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18">
            <a:extLst>
              <a:ext uri="{FF2B5EF4-FFF2-40B4-BE49-F238E27FC236}">
                <a16:creationId xmlns:a16="http://schemas.microsoft.com/office/drawing/2014/main" id="{DD20F848-98FE-4DB5-9673-99E4B2C97646}"/>
              </a:ext>
            </a:extLst>
          </p:cNvPr>
          <p:cNvSpPr txBox="1"/>
          <p:nvPr/>
        </p:nvSpPr>
        <p:spPr>
          <a:xfrm>
            <a:off x="6136180" y="5594655"/>
            <a:ext cx="4881832" cy="58221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5180"/>
              </a:lnSpc>
              <a:spcBef>
                <a:spcPct val="0"/>
              </a:spcBef>
            </a:pPr>
            <a:r>
              <a:rPr lang="en-US" sz="2589" dirty="0">
                <a:solidFill>
                  <a:srgbClr val="FFFFFF"/>
                </a:solidFill>
                <a:latin typeface="Montserrat" pitchFamily="2" charset="0"/>
                <a:ea typeface="Montserrat"/>
                <a:cs typeface="Montserrat"/>
                <a:sym typeface="Montserrat"/>
              </a:rPr>
              <a:t>Proposta PDLM 2025</a:t>
            </a:r>
          </a:p>
        </p:txBody>
      </p:sp>
      <p:grpSp>
        <p:nvGrpSpPr>
          <p:cNvPr id="26" name="Group 19">
            <a:extLst>
              <a:ext uri="{FF2B5EF4-FFF2-40B4-BE49-F238E27FC236}">
                <a16:creationId xmlns:a16="http://schemas.microsoft.com/office/drawing/2014/main" id="{11529124-67A0-4754-BA29-61BC3E2D871E}"/>
              </a:ext>
            </a:extLst>
          </p:cNvPr>
          <p:cNvGrpSpPr/>
          <p:nvPr/>
        </p:nvGrpSpPr>
        <p:grpSpPr>
          <a:xfrm>
            <a:off x="5192302" y="5723303"/>
            <a:ext cx="514666" cy="514666"/>
            <a:chOff x="0" y="0"/>
            <a:chExt cx="6350000" cy="6350000"/>
          </a:xfrm>
          <a:solidFill>
            <a:srgbClr val="192E4D"/>
          </a:solidFill>
        </p:grpSpPr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DA002E7E-D4B2-4EDF-BD1B-2A2FD6FE5152}"/>
                </a:ext>
              </a:extLst>
            </p:cNvPr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3175000" y="0"/>
                  </a:moveTo>
                  <a:cubicBezTo>
                    <a:pt x="1421496" y="0"/>
                    <a:pt x="0" y="1421496"/>
                    <a:pt x="0" y="3175000"/>
                  </a:cubicBezTo>
                  <a:cubicBezTo>
                    <a:pt x="0" y="4928504"/>
                    <a:pt x="1421496" y="6350000"/>
                    <a:pt x="3175000" y="6350000"/>
                  </a:cubicBezTo>
                  <a:cubicBezTo>
                    <a:pt x="4928504" y="6350000"/>
                    <a:pt x="6350000" y="4928504"/>
                    <a:pt x="6350000" y="3175000"/>
                  </a:cubicBezTo>
                  <a:cubicBezTo>
                    <a:pt x="6350000" y="1421496"/>
                    <a:pt x="4928504" y="0"/>
                    <a:pt x="3175000" y="0"/>
                  </a:cubicBezTo>
                  <a:close/>
                </a:path>
              </a:pathLst>
            </a:custGeom>
            <a:grpFill/>
          </p:spPr>
        </p:sp>
      </p:grpSp>
      <p:sp>
        <p:nvSpPr>
          <p:cNvPr id="28" name="TextBox 21">
            <a:extLst>
              <a:ext uri="{FF2B5EF4-FFF2-40B4-BE49-F238E27FC236}">
                <a16:creationId xmlns:a16="http://schemas.microsoft.com/office/drawing/2014/main" id="{1B4A1D4C-F647-4CD3-8928-0F53F8685E42}"/>
              </a:ext>
            </a:extLst>
          </p:cNvPr>
          <p:cNvSpPr txBox="1"/>
          <p:nvPr/>
        </p:nvSpPr>
        <p:spPr>
          <a:xfrm>
            <a:off x="5267898" y="5716349"/>
            <a:ext cx="363474" cy="441531"/>
          </a:xfrm>
          <a:prstGeom prst="rect">
            <a:avLst/>
          </a:prstGeom>
          <a:noFill/>
        </p:spPr>
        <p:txBody>
          <a:bodyPr lIns="0" tIns="0" rIns="0" bIns="0" rtlCol="0" anchor="t">
            <a:spAutoFit/>
          </a:bodyPr>
          <a:lstStyle/>
          <a:p>
            <a:pPr marL="0" lvl="1" algn="ctr">
              <a:lnSpc>
                <a:spcPts val="3768"/>
              </a:lnSpc>
              <a:spcBef>
                <a:spcPct val="0"/>
              </a:spcBef>
            </a:pPr>
            <a:r>
              <a:rPr lang="en-US" sz="2400" b="1" dirty="0">
                <a:solidFill>
                  <a:srgbClr val="B3C7BA"/>
                </a:solidFill>
                <a:latin typeface="Montserrat" pitchFamily="2" charset="0"/>
                <a:ea typeface="Montserrat Bold"/>
                <a:cs typeface="Montserrat Bold"/>
                <a:sym typeface="Montserrat Bold"/>
              </a:rPr>
              <a:t>6</a:t>
            </a:r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8B4BB860-35A1-4C23-B908-B449AE48FF7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738"/>
          <a:stretch/>
        </p:blipFill>
        <p:spPr>
          <a:xfrm>
            <a:off x="0" y="5707717"/>
            <a:ext cx="12192000" cy="1175683"/>
          </a:xfrm>
          <a:prstGeom prst="rect">
            <a:avLst/>
          </a:prstGeom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72752B4D-3CB6-4E94-90AE-3268EC0B41E3}"/>
              </a:ext>
            </a:extLst>
          </p:cNvPr>
          <p:cNvSpPr/>
          <p:nvPr/>
        </p:nvSpPr>
        <p:spPr>
          <a:xfrm>
            <a:off x="2133600" y="1438866"/>
            <a:ext cx="7693891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000000"/>
                </a:solidFill>
                <a:latin typeface="Inter"/>
              </a:rPr>
              <a:t>Tempo de Resposta para </a:t>
            </a:r>
            <a:r>
              <a:rPr lang="pt-BR" sz="2400" b="1" dirty="0" err="1">
                <a:solidFill>
                  <a:srgbClr val="000000"/>
                </a:solidFill>
                <a:latin typeface="Inter"/>
              </a:rPr>
              <a:t>Interconsulta</a:t>
            </a:r>
            <a:r>
              <a:rPr lang="pt-BR" sz="2400" b="1" dirty="0">
                <a:solidFill>
                  <a:srgbClr val="000000"/>
                </a:solidFill>
                <a:latin typeface="Inter"/>
              </a:rPr>
              <a:t> em Psiquiatria</a:t>
            </a:r>
            <a:endParaRPr lang="pt-BR" sz="2400" dirty="0">
              <a:solidFill>
                <a:srgbClr val="000000"/>
              </a:solidFill>
              <a:latin typeface="Inter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2400" b="1" dirty="0">
                <a:solidFill>
                  <a:srgbClr val="000000"/>
                </a:solidFill>
                <a:latin typeface="Inter"/>
              </a:rPr>
              <a:t>Paciente internado:</a:t>
            </a:r>
            <a:r>
              <a:rPr lang="pt-BR" sz="2400" dirty="0">
                <a:solidFill>
                  <a:srgbClr val="000000"/>
                </a:solidFill>
                <a:latin typeface="Inter"/>
              </a:rPr>
              <a:t> Resposta em até 24 horas após o pedido</a:t>
            </a:r>
            <a:br>
              <a:rPr lang="pt-BR" sz="2400" dirty="0">
                <a:solidFill>
                  <a:srgbClr val="000000"/>
                </a:solidFill>
                <a:latin typeface="Inter"/>
              </a:rPr>
            </a:br>
            <a:endParaRPr lang="pt-BR" sz="2400" dirty="0">
              <a:solidFill>
                <a:srgbClr val="000000"/>
              </a:solidFill>
              <a:latin typeface="Inter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2400" b="1" dirty="0">
                <a:solidFill>
                  <a:srgbClr val="000000"/>
                </a:solidFill>
                <a:latin typeface="Inter"/>
              </a:rPr>
              <a:t>Paciente na porta (encaminhamento externo):</a:t>
            </a:r>
            <a:r>
              <a:rPr lang="pt-BR" sz="2400" dirty="0">
                <a:solidFill>
                  <a:srgbClr val="000000"/>
                </a:solidFill>
                <a:latin typeface="Inter"/>
              </a:rPr>
              <a:t> Resposta em até 2 horas após o pedido</a:t>
            </a:r>
          </a:p>
          <a:p>
            <a:endParaRPr lang="pt-BR" sz="2400" dirty="0">
              <a:solidFill>
                <a:srgbClr val="000000"/>
              </a:solidFill>
              <a:latin typeface="Inter"/>
            </a:endParaRP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0EA9E2C5-8508-467C-BC12-58D9F3F6B95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5804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18">
            <a:extLst>
              <a:ext uri="{FF2B5EF4-FFF2-40B4-BE49-F238E27FC236}">
                <a16:creationId xmlns:a16="http://schemas.microsoft.com/office/drawing/2014/main" id="{DD20F848-98FE-4DB5-9673-99E4B2C97646}"/>
              </a:ext>
            </a:extLst>
          </p:cNvPr>
          <p:cNvSpPr txBox="1"/>
          <p:nvPr/>
        </p:nvSpPr>
        <p:spPr>
          <a:xfrm>
            <a:off x="6136180" y="5594655"/>
            <a:ext cx="4881832" cy="58221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5180"/>
              </a:lnSpc>
              <a:spcBef>
                <a:spcPct val="0"/>
              </a:spcBef>
            </a:pPr>
            <a:r>
              <a:rPr lang="en-US" sz="2589" dirty="0">
                <a:solidFill>
                  <a:srgbClr val="FFFFFF"/>
                </a:solidFill>
                <a:latin typeface="Montserrat" pitchFamily="2" charset="0"/>
                <a:ea typeface="Montserrat"/>
                <a:cs typeface="Montserrat"/>
                <a:sym typeface="Montserrat"/>
              </a:rPr>
              <a:t>Proposta PDLM 2025</a:t>
            </a:r>
          </a:p>
        </p:txBody>
      </p:sp>
      <p:grpSp>
        <p:nvGrpSpPr>
          <p:cNvPr id="26" name="Group 19">
            <a:extLst>
              <a:ext uri="{FF2B5EF4-FFF2-40B4-BE49-F238E27FC236}">
                <a16:creationId xmlns:a16="http://schemas.microsoft.com/office/drawing/2014/main" id="{11529124-67A0-4754-BA29-61BC3E2D871E}"/>
              </a:ext>
            </a:extLst>
          </p:cNvPr>
          <p:cNvGrpSpPr/>
          <p:nvPr/>
        </p:nvGrpSpPr>
        <p:grpSpPr>
          <a:xfrm>
            <a:off x="5192302" y="5723303"/>
            <a:ext cx="514666" cy="514666"/>
            <a:chOff x="0" y="0"/>
            <a:chExt cx="6350000" cy="6350000"/>
          </a:xfrm>
          <a:solidFill>
            <a:srgbClr val="192E4D"/>
          </a:solidFill>
        </p:grpSpPr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DA002E7E-D4B2-4EDF-BD1B-2A2FD6FE5152}"/>
                </a:ext>
              </a:extLst>
            </p:cNvPr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3175000" y="0"/>
                  </a:moveTo>
                  <a:cubicBezTo>
                    <a:pt x="1421496" y="0"/>
                    <a:pt x="0" y="1421496"/>
                    <a:pt x="0" y="3175000"/>
                  </a:cubicBezTo>
                  <a:cubicBezTo>
                    <a:pt x="0" y="4928504"/>
                    <a:pt x="1421496" y="6350000"/>
                    <a:pt x="3175000" y="6350000"/>
                  </a:cubicBezTo>
                  <a:cubicBezTo>
                    <a:pt x="4928504" y="6350000"/>
                    <a:pt x="6350000" y="4928504"/>
                    <a:pt x="6350000" y="3175000"/>
                  </a:cubicBezTo>
                  <a:cubicBezTo>
                    <a:pt x="6350000" y="1421496"/>
                    <a:pt x="4928504" y="0"/>
                    <a:pt x="3175000" y="0"/>
                  </a:cubicBezTo>
                  <a:close/>
                </a:path>
              </a:pathLst>
            </a:custGeom>
            <a:grpFill/>
          </p:spPr>
        </p:sp>
      </p:grpSp>
      <p:sp>
        <p:nvSpPr>
          <p:cNvPr id="28" name="TextBox 21">
            <a:extLst>
              <a:ext uri="{FF2B5EF4-FFF2-40B4-BE49-F238E27FC236}">
                <a16:creationId xmlns:a16="http://schemas.microsoft.com/office/drawing/2014/main" id="{1B4A1D4C-F647-4CD3-8928-0F53F8685E42}"/>
              </a:ext>
            </a:extLst>
          </p:cNvPr>
          <p:cNvSpPr txBox="1"/>
          <p:nvPr/>
        </p:nvSpPr>
        <p:spPr>
          <a:xfrm>
            <a:off x="5267898" y="5716349"/>
            <a:ext cx="363474" cy="441531"/>
          </a:xfrm>
          <a:prstGeom prst="rect">
            <a:avLst/>
          </a:prstGeom>
          <a:noFill/>
        </p:spPr>
        <p:txBody>
          <a:bodyPr lIns="0" tIns="0" rIns="0" bIns="0" rtlCol="0" anchor="t">
            <a:spAutoFit/>
          </a:bodyPr>
          <a:lstStyle/>
          <a:p>
            <a:pPr marL="0" lvl="1" algn="ctr">
              <a:lnSpc>
                <a:spcPts val="3768"/>
              </a:lnSpc>
              <a:spcBef>
                <a:spcPct val="0"/>
              </a:spcBef>
            </a:pPr>
            <a:r>
              <a:rPr lang="en-US" sz="2400" b="1" dirty="0">
                <a:solidFill>
                  <a:srgbClr val="B3C7BA"/>
                </a:solidFill>
                <a:latin typeface="Montserrat" pitchFamily="2" charset="0"/>
                <a:ea typeface="Montserrat Bold"/>
                <a:cs typeface="Montserrat Bold"/>
                <a:sym typeface="Montserrat Bold"/>
              </a:rPr>
              <a:t>6</a:t>
            </a:r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8B4BB860-35A1-4C23-B908-B449AE48FF7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738"/>
          <a:stretch/>
        </p:blipFill>
        <p:spPr>
          <a:xfrm>
            <a:off x="0" y="5707717"/>
            <a:ext cx="12192000" cy="1175683"/>
          </a:xfrm>
          <a:prstGeom prst="rect">
            <a:avLst/>
          </a:prstGeom>
        </p:spPr>
      </p:pic>
      <p:sp>
        <p:nvSpPr>
          <p:cNvPr id="14" name="Retângulo 13">
            <a:extLst>
              <a:ext uri="{FF2B5EF4-FFF2-40B4-BE49-F238E27FC236}">
                <a16:creationId xmlns:a16="http://schemas.microsoft.com/office/drawing/2014/main" id="{AD7556BA-183C-4C09-8046-D09C61522E55}"/>
              </a:ext>
            </a:extLst>
          </p:cNvPr>
          <p:cNvSpPr/>
          <p:nvPr/>
        </p:nvSpPr>
        <p:spPr>
          <a:xfrm>
            <a:off x="2402763" y="988498"/>
            <a:ext cx="62476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>
                <a:solidFill>
                  <a:srgbClr val="000000"/>
                </a:solidFill>
                <a:latin typeface="Inter"/>
              </a:rPr>
              <a:t>Histórico da Psiquiatria no Hospital </a:t>
            </a:r>
            <a:r>
              <a:rPr lang="pt-BR" sz="2400" b="1" dirty="0" err="1">
                <a:solidFill>
                  <a:srgbClr val="000000"/>
                </a:solidFill>
                <a:latin typeface="Inter"/>
              </a:rPr>
              <a:t>Mboi</a:t>
            </a:r>
            <a:r>
              <a:rPr lang="pt-BR" sz="2400" b="1" dirty="0">
                <a:solidFill>
                  <a:srgbClr val="000000"/>
                </a:solidFill>
                <a:latin typeface="Inter"/>
              </a:rPr>
              <a:t> Mirim</a:t>
            </a:r>
            <a:endParaRPr lang="pt-BR" sz="2400" dirty="0"/>
          </a:p>
        </p:txBody>
      </p:sp>
      <p:sp>
        <p:nvSpPr>
          <p:cNvPr id="2" name="AutoShape 2" descr="blob:https://web.whatsapp.com/5a4d2ba1-066e-47f7-88ab-5e68566f0686">
            <a:extLst>
              <a:ext uri="{FF2B5EF4-FFF2-40B4-BE49-F238E27FC236}">
                <a16:creationId xmlns:a16="http://schemas.microsoft.com/office/drawing/2014/main" id="{EC9159E6-2E5B-4F1E-AE4B-57097A24330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94400" y="3327400"/>
            <a:ext cx="203200" cy="203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pt-BR" sz="1200"/>
          </a:p>
        </p:txBody>
      </p:sp>
      <p:sp>
        <p:nvSpPr>
          <p:cNvPr id="3" name="AutoShape 4" descr="blob:https://web.whatsapp.com/5a4d2ba1-066e-47f7-88ab-5e68566f0686">
            <a:extLst>
              <a:ext uri="{FF2B5EF4-FFF2-40B4-BE49-F238E27FC236}">
                <a16:creationId xmlns:a16="http://schemas.microsoft.com/office/drawing/2014/main" id="{FF66757A-C22D-4FE3-B5A9-071CD3F01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203200" cy="203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pt-BR" sz="1200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0179369E-26A2-4714-8C55-CC024C7EAB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7408" y="193122"/>
            <a:ext cx="8568952" cy="5478270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07824935-8143-41C7-B57C-33CEF030CBB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81935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18">
            <a:extLst>
              <a:ext uri="{FF2B5EF4-FFF2-40B4-BE49-F238E27FC236}">
                <a16:creationId xmlns:a16="http://schemas.microsoft.com/office/drawing/2014/main" id="{DD20F848-98FE-4DB5-9673-99E4B2C97646}"/>
              </a:ext>
            </a:extLst>
          </p:cNvPr>
          <p:cNvSpPr txBox="1"/>
          <p:nvPr/>
        </p:nvSpPr>
        <p:spPr>
          <a:xfrm>
            <a:off x="6136180" y="5594655"/>
            <a:ext cx="4881832" cy="58221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5180"/>
              </a:lnSpc>
              <a:spcBef>
                <a:spcPct val="0"/>
              </a:spcBef>
            </a:pPr>
            <a:r>
              <a:rPr lang="en-US" sz="2589" dirty="0">
                <a:solidFill>
                  <a:srgbClr val="FFFFFF"/>
                </a:solidFill>
                <a:latin typeface="Montserrat" pitchFamily="2" charset="0"/>
                <a:ea typeface="Montserrat"/>
                <a:cs typeface="Montserrat"/>
                <a:sym typeface="Montserrat"/>
              </a:rPr>
              <a:t>Proposta PDLM 2025</a:t>
            </a:r>
          </a:p>
        </p:txBody>
      </p:sp>
      <p:grpSp>
        <p:nvGrpSpPr>
          <p:cNvPr id="26" name="Group 19">
            <a:extLst>
              <a:ext uri="{FF2B5EF4-FFF2-40B4-BE49-F238E27FC236}">
                <a16:creationId xmlns:a16="http://schemas.microsoft.com/office/drawing/2014/main" id="{11529124-67A0-4754-BA29-61BC3E2D871E}"/>
              </a:ext>
            </a:extLst>
          </p:cNvPr>
          <p:cNvGrpSpPr/>
          <p:nvPr/>
        </p:nvGrpSpPr>
        <p:grpSpPr>
          <a:xfrm>
            <a:off x="5192302" y="5723303"/>
            <a:ext cx="514666" cy="514666"/>
            <a:chOff x="0" y="0"/>
            <a:chExt cx="6350000" cy="6350000"/>
          </a:xfrm>
          <a:solidFill>
            <a:srgbClr val="192E4D"/>
          </a:solidFill>
        </p:grpSpPr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DA002E7E-D4B2-4EDF-BD1B-2A2FD6FE5152}"/>
                </a:ext>
              </a:extLst>
            </p:cNvPr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3175000" y="0"/>
                  </a:moveTo>
                  <a:cubicBezTo>
                    <a:pt x="1421496" y="0"/>
                    <a:pt x="0" y="1421496"/>
                    <a:pt x="0" y="3175000"/>
                  </a:cubicBezTo>
                  <a:cubicBezTo>
                    <a:pt x="0" y="4928504"/>
                    <a:pt x="1421496" y="6350000"/>
                    <a:pt x="3175000" y="6350000"/>
                  </a:cubicBezTo>
                  <a:cubicBezTo>
                    <a:pt x="4928504" y="6350000"/>
                    <a:pt x="6350000" y="4928504"/>
                    <a:pt x="6350000" y="3175000"/>
                  </a:cubicBezTo>
                  <a:cubicBezTo>
                    <a:pt x="6350000" y="1421496"/>
                    <a:pt x="4928504" y="0"/>
                    <a:pt x="3175000" y="0"/>
                  </a:cubicBezTo>
                  <a:close/>
                </a:path>
              </a:pathLst>
            </a:custGeom>
            <a:grpFill/>
          </p:spPr>
        </p:sp>
      </p:grpSp>
      <p:sp>
        <p:nvSpPr>
          <p:cNvPr id="28" name="TextBox 21">
            <a:extLst>
              <a:ext uri="{FF2B5EF4-FFF2-40B4-BE49-F238E27FC236}">
                <a16:creationId xmlns:a16="http://schemas.microsoft.com/office/drawing/2014/main" id="{1B4A1D4C-F647-4CD3-8928-0F53F8685E42}"/>
              </a:ext>
            </a:extLst>
          </p:cNvPr>
          <p:cNvSpPr txBox="1"/>
          <p:nvPr/>
        </p:nvSpPr>
        <p:spPr>
          <a:xfrm>
            <a:off x="5267898" y="5716349"/>
            <a:ext cx="363474" cy="441531"/>
          </a:xfrm>
          <a:prstGeom prst="rect">
            <a:avLst/>
          </a:prstGeom>
          <a:noFill/>
        </p:spPr>
        <p:txBody>
          <a:bodyPr lIns="0" tIns="0" rIns="0" bIns="0" rtlCol="0" anchor="t">
            <a:spAutoFit/>
          </a:bodyPr>
          <a:lstStyle/>
          <a:p>
            <a:pPr marL="0" lvl="1" algn="ctr">
              <a:lnSpc>
                <a:spcPts val="3768"/>
              </a:lnSpc>
              <a:spcBef>
                <a:spcPct val="0"/>
              </a:spcBef>
            </a:pPr>
            <a:r>
              <a:rPr lang="en-US" sz="2400" b="1" dirty="0">
                <a:solidFill>
                  <a:srgbClr val="B3C7BA"/>
                </a:solidFill>
                <a:latin typeface="Montserrat" pitchFamily="2" charset="0"/>
                <a:ea typeface="Montserrat Bold"/>
                <a:cs typeface="Montserrat Bold"/>
                <a:sym typeface="Montserrat Bold"/>
              </a:rPr>
              <a:t>6</a:t>
            </a:r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8B4BB860-35A1-4C23-B908-B449AE48FF7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738"/>
          <a:stretch/>
        </p:blipFill>
        <p:spPr>
          <a:xfrm>
            <a:off x="0" y="5707717"/>
            <a:ext cx="12192000" cy="1175683"/>
          </a:xfrm>
          <a:prstGeom prst="rect">
            <a:avLst/>
          </a:prstGeom>
        </p:spPr>
      </p:pic>
      <p:sp>
        <p:nvSpPr>
          <p:cNvPr id="14" name="Retângulo 13">
            <a:extLst>
              <a:ext uri="{FF2B5EF4-FFF2-40B4-BE49-F238E27FC236}">
                <a16:creationId xmlns:a16="http://schemas.microsoft.com/office/drawing/2014/main" id="{AD7556BA-183C-4C09-8046-D09C61522E55}"/>
              </a:ext>
            </a:extLst>
          </p:cNvPr>
          <p:cNvSpPr/>
          <p:nvPr/>
        </p:nvSpPr>
        <p:spPr>
          <a:xfrm>
            <a:off x="594821" y="1518106"/>
            <a:ext cx="10922000" cy="44021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pt-BR" altLang="pt-BR" sz="1867" dirty="0">
                <a:solidFill>
                  <a:srgbClr val="000000"/>
                </a:solidFill>
                <a:latin typeface="Inter"/>
              </a:rPr>
              <a:t>Alto volume de pacientes na clínica médica, gerando prioridade para casos mais graves ou urgentes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 startAt="2"/>
            </a:pPr>
            <a:r>
              <a:rPr lang="pt-BR" altLang="pt-BR" sz="1867" dirty="0">
                <a:solidFill>
                  <a:srgbClr val="000000"/>
                </a:solidFill>
                <a:latin typeface="Inter"/>
              </a:rPr>
              <a:t>Triagens mais graves e urgentes sendo atendidas antes dos casos psiquiátricos, especialmente quando estes não apresentam risco iminente de morte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 startAt="3"/>
            </a:pPr>
            <a:r>
              <a:rPr lang="pt-BR" altLang="pt-BR" sz="1867" dirty="0">
                <a:solidFill>
                  <a:srgbClr val="000000"/>
                </a:solidFill>
                <a:latin typeface="Inter"/>
              </a:rPr>
              <a:t>Resistência da equipe fora do setor de saúde mental em atender casos psiquiátricos, possivelmente devido à falta de capacitação ou recursos específicos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 startAt="4"/>
            </a:pPr>
            <a:r>
              <a:rPr lang="pt-BR" altLang="pt-BR" sz="1867" dirty="0">
                <a:solidFill>
                  <a:srgbClr val="000000"/>
                </a:solidFill>
                <a:latin typeface="Inter"/>
              </a:rPr>
              <a:t>Casos exclusivamente psiquiátricos frequentemente não apresentam risco imediato, o que pode diminuir a prioridade na fila de atendimento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 startAt="5"/>
            </a:pPr>
            <a:r>
              <a:rPr lang="pt-BR" altLang="pt-BR" sz="1867" dirty="0">
                <a:solidFill>
                  <a:srgbClr val="000000"/>
                </a:solidFill>
                <a:latin typeface="Inter"/>
              </a:rPr>
              <a:t>Alto fluxo de pacientes com queixas psiquiátricas, sobrecarregando os serviços existentes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 startAt="6"/>
            </a:pPr>
            <a:r>
              <a:rPr lang="pt-BR" altLang="pt-BR" sz="1867" dirty="0" err="1">
                <a:solidFill>
                  <a:srgbClr val="000000"/>
                </a:solidFill>
                <a:latin typeface="Inter"/>
              </a:rPr>
              <a:t>UPAs</a:t>
            </a:r>
            <a:r>
              <a:rPr lang="pt-BR" altLang="pt-BR" sz="1867" dirty="0">
                <a:solidFill>
                  <a:srgbClr val="000000"/>
                </a:solidFill>
                <a:latin typeface="Inter"/>
              </a:rPr>
              <a:t> (Unidades de Pronto Atendimento) pouco resolutivas, levando à demora na resolução dos casos ou encaminhamentos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 startAt="7"/>
            </a:pPr>
            <a:r>
              <a:rPr lang="pt-BR" altLang="pt-BR" sz="1867" dirty="0">
                <a:solidFill>
                  <a:srgbClr val="000000"/>
                </a:solidFill>
                <a:latin typeface="Inter"/>
              </a:rPr>
              <a:t>Fechamento de portas abertas em São Paulo, como no </a:t>
            </a:r>
            <a:r>
              <a:rPr lang="pt-BR" altLang="pt-BR" sz="1867" dirty="0" err="1">
                <a:solidFill>
                  <a:srgbClr val="000000"/>
                </a:solidFill>
                <a:latin typeface="Inter"/>
              </a:rPr>
              <a:t>Caism</a:t>
            </a:r>
            <a:r>
              <a:rPr lang="pt-BR" altLang="pt-BR" sz="1867" dirty="0">
                <a:solidFill>
                  <a:srgbClr val="000000"/>
                </a:solidFill>
                <a:latin typeface="Inter"/>
              </a:rPr>
              <a:t>, </a:t>
            </a:r>
            <a:r>
              <a:rPr lang="pt-BR" altLang="pt-BR" sz="1867" dirty="0" err="1">
                <a:solidFill>
                  <a:srgbClr val="000000"/>
                </a:solidFill>
                <a:latin typeface="Inter"/>
              </a:rPr>
              <a:t>Mandaqui</a:t>
            </a:r>
            <a:r>
              <a:rPr lang="pt-BR" altLang="pt-BR" sz="1867" dirty="0">
                <a:solidFill>
                  <a:srgbClr val="000000"/>
                </a:solidFill>
                <a:latin typeface="Inter"/>
              </a:rPr>
              <a:t>, Campo Limpo, entre outros, reduzindo o acesso direto a atendimentos especializados. </a:t>
            </a:r>
            <a:br>
              <a:rPr lang="pt-BR" altLang="pt-BR" sz="1867" dirty="0">
                <a:solidFill>
                  <a:srgbClr val="000000"/>
                </a:solidFill>
                <a:latin typeface="Inter"/>
              </a:rPr>
            </a:br>
            <a:br>
              <a:rPr lang="pt-BR" altLang="pt-BR" sz="1867" dirty="0">
                <a:solidFill>
                  <a:srgbClr val="000000"/>
                </a:solidFill>
                <a:latin typeface="Inter"/>
              </a:rPr>
            </a:br>
            <a:r>
              <a:rPr lang="pt-BR" altLang="pt-BR" sz="1867" b="1" dirty="0">
                <a:solidFill>
                  <a:srgbClr val="000000"/>
                </a:solidFill>
                <a:latin typeface="Inter"/>
              </a:rPr>
              <a:t>Esses fatores combinados resultam em tempos de espera maiores para pacientes psiquiátricos e dificultam a agilidade no atendimento</a:t>
            </a:r>
            <a:r>
              <a:rPr lang="pt-BR" altLang="pt-BR" sz="1867" dirty="0">
                <a:solidFill>
                  <a:srgbClr val="000000"/>
                </a:solidFill>
                <a:latin typeface="Inter"/>
              </a:rPr>
              <a:t>.</a:t>
            </a: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7F29844D-3401-41D2-A8AE-E57577EB412F}"/>
              </a:ext>
            </a:extLst>
          </p:cNvPr>
          <p:cNvSpPr/>
          <p:nvPr/>
        </p:nvSpPr>
        <p:spPr>
          <a:xfrm>
            <a:off x="1363568" y="450524"/>
            <a:ext cx="8686800" cy="7487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133" b="1" dirty="0">
                <a:solidFill>
                  <a:srgbClr val="000000"/>
                </a:solidFill>
                <a:latin typeface="Inter"/>
              </a:rPr>
              <a:t>Alguns motivos que podem contribuir para a demora no atendimento de pacientes psiquiátricos incluem:</a:t>
            </a:r>
            <a:endParaRPr lang="pt-BR" sz="2133" b="1" dirty="0"/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E794C537-2E55-458D-B095-08D06718348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2433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9" y="-20638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263352" y="3913"/>
            <a:ext cx="1029714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1º Simpósio de Aleitamento Humano – Hospital M’Boi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2335DEAC-33B6-42E9-B38C-6D3E29F36640}"/>
              </a:ext>
            </a:extLst>
          </p:cNvPr>
          <p:cNvSpPr txBox="1"/>
          <p:nvPr/>
        </p:nvSpPr>
        <p:spPr>
          <a:xfrm>
            <a:off x="119337" y="5912802"/>
            <a:ext cx="835292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1600" dirty="0">
                <a:solidFill>
                  <a:srgbClr val="399593"/>
                </a:solidFill>
              </a:rPr>
              <a:t>  Hospital M’Boi realiza 1º Simpósio de Aleitamento Humano, com debates e especialistas da área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FCB4306F-A2DD-49B0-B8B6-392F6CE68D61}"/>
              </a:ext>
            </a:extLst>
          </p:cNvPr>
          <p:cNvSpPr txBox="1"/>
          <p:nvPr/>
        </p:nvSpPr>
        <p:spPr>
          <a:xfrm>
            <a:off x="4281671" y="5026811"/>
            <a:ext cx="721878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br>
              <a:rPr lang="pt-BR" b="1" dirty="0">
                <a:solidFill>
                  <a:srgbClr val="399593"/>
                </a:solidFill>
              </a:rPr>
            </a:br>
            <a:endParaRPr lang="pt-BR" b="1" dirty="0">
              <a:solidFill>
                <a:srgbClr val="399593"/>
              </a:solidFill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64DD5252-D8E0-45D0-8CB7-2919CF1919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5360" y="839230"/>
            <a:ext cx="3456384" cy="4893995"/>
          </a:xfrm>
          <a:prstGeom prst="rect">
            <a:avLst/>
          </a:prstGeom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id="{9ECFAD5D-D2CC-4EF8-A2C3-8D21A319C2B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1528" b="7110"/>
          <a:stretch/>
        </p:blipFill>
        <p:spPr>
          <a:xfrm>
            <a:off x="3935760" y="839230"/>
            <a:ext cx="2592288" cy="246653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F65CC741-C32E-4E14-8896-340A768FE6A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8638" b="18501"/>
          <a:stretch/>
        </p:blipFill>
        <p:spPr>
          <a:xfrm>
            <a:off x="6679828" y="856416"/>
            <a:ext cx="3470045" cy="253505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id="{A87E275A-7940-4908-80E4-455FC8F4389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9551" b="22700"/>
          <a:stretch/>
        </p:blipFill>
        <p:spPr>
          <a:xfrm>
            <a:off x="3967539" y="3374742"/>
            <a:ext cx="2560509" cy="244827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E511C85B-15F1-4526-8ABA-8DF4E9AB0E9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24632" y="3495352"/>
            <a:ext cx="3425241" cy="232766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5359992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18">
            <a:extLst>
              <a:ext uri="{FF2B5EF4-FFF2-40B4-BE49-F238E27FC236}">
                <a16:creationId xmlns:a16="http://schemas.microsoft.com/office/drawing/2014/main" id="{DD20F848-98FE-4DB5-9673-99E4B2C97646}"/>
              </a:ext>
            </a:extLst>
          </p:cNvPr>
          <p:cNvSpPr txBox="1"/>
          <p:nvPr/>
        </p:nvSpPr>
        <p:spPr>
          <a:xfrm>
            <a:off x="6136180" y="5594655"/>
            <a:ext cx="4881832" cy="58221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5180"/>
              </a:lnSpc>
              <a:spcBef>
                <a:spcPct val="0"/>
              </a:spcBef>
            </a:pPr>
            <a:r>
              <a:rPr lang="en-US" sz="2589" dirty="0">
                <a:solidFill>
                  <a:srgbClr val="FFFFFF"/>
                </a:solidFill>
                <a:latin typeface="Montserrat" pitchFamily="2" charset="0"/>
                <a:ea typeface="Montserrat"/>
                <a:cs typeface="Montserrat"/>
                <a:sym typeface="Montserrat"/>
              </a:rPr>
              <a:t>Proposta PDLM 2025</a:t>
            </a:r>
          </a:p>
        </p:txBody>
      </p:sp>
      <p:grpSp>
        <p:nvGrpSpPr>
          <p:cNvPr id="26" name="Group 19">
            <a:extLst>
              <a:ext uri="{FF2B5EF4-FFF2-40B4-BE49-F238E27FC236}">
                <a16:creationId xmlns:a16="http://schemas.microsoft.com/office/drawing/2014/main" id="{11529124-67A0-4754-BA29-61BC3E2D871E}"/>
              </a:ext>
            </a:extLst>
          </p:cNvPr>
          <p:cNvGrpSpPr/>
          <p:nvPr/>
        </p:nvGrpSpPr>
        <p:grpSpPr>
          <a:xfrm>
            <a:off x="5192302" y="5723303"/>
            <a:ext cx="514666" cy="514666"/>
            <a:chOff x="0" y="0"/>
            <a:chExt cx="6350000" cy="6350000"/>
          </a:xfrm>
          <a:solidFill>
            <a:srgbClr val="192E4D"/>
          </a:solidFill>
        </p:grpSpPr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DA002E7E-D4B2-4EDF-BD1B-2A2FD6FE5152}"/>
                </a:ext>
              </a:extLst>
            </p:cNvPr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3175000" y="0"/>
                  </a:moveTo>
                  <a:cubicBezTo>
                    <a:pt x="1421496" y="0"/>
                    <a:pt x="0" y="1421496"/>
                    <a:pt x="0" y="3175000"/>
                  </a:cubicBezTo>
                  <a:cubicBezTo>
                    <a:pt x="0" y="4928504"/>
                    <a:pt x="1421496" y="6350000"/>
                    <a:pt x="3175000" y="6350000"/>
                  </a:cubicBezTo>
                  <a:cubicBezTo>
                    <a:pt x="4928504" y="6350000"/>
                    <a:pt x="6350000" y="4928504"/>
                    <a:pt x="6350000" y="3175000"/>
                  </a:cubicBezTo>
                  <a:cubicBezTo>
                    <a:pt x="6350000" y="1421496"/>
                    <a:pt x="4928504" y="0"/>
                    <a:pt x="3175000" y="0"/>
                  </a:cubicBezTo>
                  <a:close/>
                </a:path>
              </a:pathLst>
            </a:custGeom>
            <a:grpFill/>
          </p:spPr>
        </p:sp>
      </p:grpSp>
      <p:sp>
        <p:nvSpPr>
          <p:cNvPr id="28" name="TextBox 21">
            <a:extLst>
              <a:ext uri="{FF2B5EF4-FFF2-40B4-BE49-F238E27FC236}">
                <a16:creationId xmlns:a16="http://schemas.microsoft.com/office/drawing/2014/main" id="{1B4A1D4C-F647-4CD3-8928-0F53F8685E42}"/>
              </a:ext>
            </a:extLst>
          </p:cNvPr>
          <p:cNvSpPr txBox="1"/>
          <p:nvPr/>
        </p:nvSpPr>
        <p:spPr>
          <a:xfrm>
            <a:off x="5267898" y="5716349"/>
            <a:ext cx="363474" cy="441531"/>
          </a:xfrm>
          <a:prstGeom prst="rect">
            <a:avLst/>
          </a:prstGeom>
          <a:noFill/>
        </p:spPr>
        <p:txBody>
          <a:bodyPr lIns="0" tIns="0" rIns="0" bIns="0" rtlCol="0" anchor="t">
            <a:spAutoFit/>
          </a:bodyPr>
          <a:lstStyle/>
          <a:p>
            <a:pPr marL="0" lvl="1" algn="ctr">
              <a:lnSpc>
                <a:spcPts val="3768"/>
              </a:lnSpc>
              <a:spcBef>
                <a:spcPct val="0"/>
              </a:spcBef>
            </a:pPr>
            <a:r>
              <a:rPr lang="en-US" sz="2400" b="1" dirty="0">
                <a:solidFill>
                  <a:srgbClr val="B3C7BA"/>
                </a:solidFill>
                <a:latin typeface="Montserrat" pitchFamily="2" charset="0"/>
                <a:ea typeface="Montserrat Bold"/>
                <a:cs typeface="Montserrat Bold"/>
                <a:sym typeface="Montserrat Bold"/>
              </a:rPr>
              <a:t>6</a:t>
            </a:r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8B4BB860-35A1-4C23-B908-B449AE48FF7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738"/>
          <a:stretch/>
        </p:blipFill>
        <p:spPr>
          <a:xfrm>
            <a:off x="0" y="5707717"/>
            <a:ext cx="12192000" cy="1175683"/>
          </a:xfrm>
          <a:prstGeom prst="rect">
            <a:avLst/>
          </a:prstGeom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72752B4D-3CB6-4E94-90AE-3268EC0B41E3}"/>
              </a:ext>
            </a:extLst>
          </p:cNvPr>
          <p:cNvSpPr/>
          <p:nvPr/>
        </p:nvSpPr>
        <p:spPr>
          <a:xfrm>
            <a:off x="2133600" y="1438866"/>
            <a:ext cx="769389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pt-BR" sz="2400" dirty="0">
              <a:solidFill>
                <a:srgbClr val="000000"/>
              </a:solidFill>
              <a:latin typeface="Inter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17C39E93-BEDE-4FCE-BA44-9875EA339F0A}"/>
              </a:ext>
            </a:extLst>
          </p:cNvPr>
          <p:cNvSpPr txBox="1"/>
          <p:nvPr/>
        </p:nvSpPr>
        <p:spPr>
          <a:xfrm>
            <a:off x="2251371" y="2518994"/>
            <a:ext cx="7576120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667" dirty="0"/>
              <a:t>Estão sendo discutidas novas possibilidades e fluxos possíveis para melhorar o atendimento na população. 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BB8031ED-BE10-4690-8CA9-D07F2C70226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70270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7">
            <a:extLst>
              <a:ext uri="{FF2B5EF4-FFF2-40B4-BE49-F238E27FC236}">
                <a16:creationId xmlns:a16="http://schemas.microsoft.com/office/drawing/2014/main" id="{99CE2987-0426-450B-80C4-5DA1BF8720D9}"/>
              </a:ext>
            </a:extLst>
          </p:cNvPr>
          <p:cNvSpPr txBox="1"/>
          <p:nvPr/>
        </p:nvSpPr>
        <p:spPr>
          <a:xfrm>
            <a:off x="-168696" y="647598"/>
            <a:ext cx="1188247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3600" b="1" dirty="0">
                <a:solidFill>
                  <a:srgbClr val="006A6B"/>
                </a:solidFill>
                <a:latin typeface="Trebuchet MS" panose="020B0603020202020204" pitchFamily="34" charset="0"/>
              </a:rPr>
              <a:t>Centro de Comando Operacional – Fluxo do Paciente </a:t>
            </a:r>
            <a:endParaRPr lang="pt-BR" sz="36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21506" name="Picture 2" descr="Escola Virtual Gov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224211" y="1700808"/>
            <a:ext cx="4782794" cy="310281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C0F89717-3CC2-4E43-AB3C-B66EFC126A88}"/>
              </a:ext>
            </a:extLst>
          </p:cNvPr>
          <p:cNvSpPr txBox="1"/>
          <p:nvPr/>
        </p:nvSpPr>
        <p:spPr>
          <a:xfrm>
            <a:off x="2567608" y="5517232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Dr. Felipe</a:t>
            </a:r>
            <a:endParaRPr lang="pt-BR" sz="18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239940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7">
            <a:extLst>
              <a:ext uri="{FF2B5EF4-FFF2-40B4-BE49-F238E27FC236}">
                <a16:creationId xmlns:a16="http://schemas.microsoft.com/office/drawing/2014/main" id="{99CE2987-0426-450B-80C4-5DA1BF8720D9}"/>
              </a:ext>
            </a:extLst>
          </p:cNvPr>
          <p:cNvSpPr txBox="1"/>
          <p:nvPr/>
        </p:nvSpPr>
        <p:spPr>
          <a:xfrm>
            <a:off x="0" y="119698"/>
            <a:ext cx="1188247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Centro de Comando Operacional – Fluxo do Paciente </a:t>
            </a:r>
            <a:endParaRPr lang="pt-BR" sz="28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23836" y="714356"/>
            <a:ext cx="10787138" cy="2511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95274" y="3500438"/>
            <a:ext cx="10858576" cy="251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59680032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C826B8-8987-4AA7-D1F1-48CFEF5EA8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7">
            <a:extLst>
              <a:ext uri="{FF2B5EF4-FFF2-40B4-BE49-F238E27FC236}">
                <a16:creationId xmlns:a16="http://schemas.microsoft.com/office/drawing/2014/main" id="{D277565F-AA8A-1222-35BA-E968ABAD5A8F}"/>
              </a:ext>
            </a:extLst>
          </p:cNvPr>
          <p:cNvSpPr txBox="1"/>
          <p:nvPr/>
        </p:nvSpPr>
        <p:spPr>
          <a:xfrm>
            <a:off x="0" y="119698"/>
            <a:ext cx="1188247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Centro de Comando Operacional – Fluxo do Paciente </a:t>
            </a:r>
            <a:endParaRPr lang="pt-BR" sz="28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26EE0D58-71B3-57B1-9CF3-1E6267CCC78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23836" y="785794"/>
            <a:ext cx="10858576" cy="251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23836" y="3429000"/>
            <a:ext cx="10858576" cy="251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22537228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7">
            <a:extLst>
              <a:ext uri="{FF2B5EF4-FFF2-40B4-BE49-F238E27FC236}">
                <a16:creationId xmlns:a16="http://schemas.microsoft.com/office/drawing/2014/main" id="{99CE2987-0426-450B-80C4-5DA1BF8720D9}"/>
              </a:ext>
            </a:extLst>
          </p:cNvPr>
          <p:cNvSpPr txBox="1"/>
          <p:nvPr/>
        </p:nvSpPr>
        <p:spPr>
          <a:xfrm>
            <a:off x="0" y="142852"/>
            <a:ext cx="1116809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Centro de Comando Operacional – Fluxo do Paciente </a:t>
            </a:r>
            <a:endParaRPr lang="pt-BR" sz="28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80960" y="785794"/>
            <a:ext cx="11358642" cy="2511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80960" y="3429000"/>
            <a:ext cx="11430080" cy="2511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63751575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7">
            <a:extLst>
              <a:ext uri="{FF2B5EF4-FFF2-40B4-BE49-F238E27FC236}">
                <a16:creationId xmlns:a16="http://schemas.microsoft.com/office/drawing/2014/main" id="{99CE2987-0426-450B-80C4-5DA1BF8720D9}"/>
              </a:ext>
            </a:extLst>
          </p:cNvPr>
          <p:cNvSpPr txBox="1"/>
          <p:nvPr/>
        </p:nvSpPr>
        <p:spPr>
          <a:xfrm>
            <a:off x="0" y="142852"/>
            <a:ext cx="1188247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Centro de Comando Operacional – Fluxo do Paciente </a:t>
            </a:r>
            <a:endParaRPr lang="pt-BR" sz="28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09522" y="714357"/>
            <a:ext cx="11215766" cy="2357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09522" y="3214686"/>
            <a:ext cx="11215766" cy="2786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73387771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6" name="CaixaDeTexto 7">
            <a:extLst>
              <a:ext uri="{FF2B5EF4-FFF2-40B4-BE49-F238E27FC236}">
                <a16:creationId xmlns:a16="http://schemas.microsoft.com/office/drawing/2014/main" id="{99CE2987-0426-450B-80C4-5DA1BF8720D9}"/>
              </a:ext>
            </a:extLst>
          </p:cNvPr>
          <p:cNvSpPr txBox="1"/>
          <p:nvPr/>
        </p:nvSpPr>
        <p:spPr>
          <a:xfrm>
            <a:off x="380960" y="142852"/>
            <a:ext cx="1150151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Centro de Comando Operacional – Fluxo do Paciente 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38150" y="785794"/>
            <a:ext cx="10715700" cy="250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38150" y="3357562"/>
            <a:ext cx="10715700" cy="26432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159743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6" name="CaixaDeTexto 7">
            <a:extLst>
              <a:ext uri="{FF2B5EF4-FFF2-40B4-BE49-F238E27FC236}">
                <a16:creationId xmlns:a16="http://schemas.microsoft.com/office/drawing/2014/main" id="{99CE2987-0426-450B-80C4-5DA1BF8720D9}"/>
              </a:ext>
            </a:extLst>
          </p:cNvPr>
          <p:cNvSpPr txBox="1"/>
          <p:nvPr/>
        </p:nvSpPr>
        <p:spPr>
          <a:xfrm>
            <a:off x="380960" y="142852"/>
            <a:ext cx="1150151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Centro de Comando Operacional – Fluxo do Paciente 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30E5FA88-A6A7-4F29-9231-9F2611390A1F}"/>
              </a:ext>
            </a:extLst>
          </p:cNvPr>
          <p:cNvGraphicFramePr>
            <a:graphicFrameLocks/>
          </p:cNvGraphicFramePr>
          <p:nvPr/>
        </p:nvGraphicFramePr>
        <p:xfrm>
          <a:off x="1199456" y="1700808"/>
          <a:ext cx="9217024" cy="2736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7053788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106C9356-833A-4B5B-A081-D7DCAA6AE954}"/>
              </a:ext>
            </a:extLst>
          </p:cNvPr>
          <p:cNvSpPr txBox="1"/>
          <p:nvPr/>
        </p:nvSpPr>
        <p:spPr>
          <a:xfrm>
            <a:off x="1343472" y="188640"/>
            <a:ext cx="8856984" cy="6032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r>
              <a:rPr lang="pt-BR" sz="1400" dirty="0"/>
              <a:t> </a:t>
            </a:r>
            <a:r>
              <a:rPr lang="pt-BR" sz="4400" b="1" dirty="0">
                <a:solidFill>
                  <a:srgbClr val="3995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urostile" panose="020B0504020202050204" pitchFamily="34" charset="77"/>
                <a:ea typeface="+mj-ea"/>
                <a:cs typeface="+mj-cs"/>
              </a:rPr>
              <a:t>Verificação do hall de espera dos pacientes classificados em amarelo – referente a cadeiras de rodas</a:t>
            </a:r>
          </a:p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Camila Bosco</a:t>
            </a:r>
          </a:p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47852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CAF7D67C-6181-49D9-87B3-7C7E5E1DFB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79576" y="823550"/>
            <a:ext cx="6840760" cy="51329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0" name="CaixaDeTexto 19">
            <a:extLst>
              <a:ext uri="{FF2B5EF4-FFF2-40B4-BE49-F238E27FC236}">
                <a16:creationId xmlns:a16="http://schemas.microsoft.com/office/drawing/2014/main" id="{1ED5CF9C-E46E-4C63-9508-DDAAC7778218}"/>
              </a:ext>
            </a:extLst>
          </p:cNvPr>
          <p:cNvSpPr txBox="1"/>
          <p:nvPr/>
        </p:nvSpPr>
        <p:spPr>
          <a:xfrm>
            <a:off x="767408" y="10141"/>
            <a:ext cx="856895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600" b="1" dirty="0">
                <a:solidFill>
                  <a:srgbClr val="006A6B"/>
                </a:solidFill>
                <a:latin typeface="Trebuchet MS" panose="020B0603020202020204" pitchFamily="34" charset="0"/>
              </a:rPr>
              <a:t>Ambiente de Espera dos Pacientes</a:t>
            </a:r>
            <a:endParaRPr lang="pt-BR" sz="3600" dirty="0"/>
          </a:p>
        </p:txBody>
      </p:sp>
    </p:spTree>
    <p:extLst>
      <p:ext uri="{BB962C8B-B14F-4D97-AF65-F5344CB8AC3E}">
        <p14:creationId xmlns:p14="http://schemas.microsoft.com/office/powerpoint/2010/main" val="27172692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9" y="-20638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263352" y="3913"/>
            <a:ext cx="1029714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Semana da SIPAT</a:t>
            </a:r>
          </a:p>
          <a:p>
            <a:pPr>
              <a:defRPr/>
            </a:pPr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2335DEAC-33B6-42E9-B38C-6D3E29F36640}"/>
              </a:ext>
            </a:extLst>
          </p:cNvPr>
          <p:cNvSpPr txBox="1"/>
          <p:nvPr/>
        </p:nvSpPr>
        <p:spPr>
          <a:xfrm>
            <a:off x="191344" y="5721875"/>
            <a:ext cx="1122380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dirty="0">
                <a:solidFill>
                  <a:srgbClr val="399593"/>
                </a:solidFill>
              </a:rPr>
              <a:t>Semana de cuidado, bem-estar e saúde para os colaboradores </a:t>
            </a:r>
            <a:endParaRPr lang="pt-BR" dirty="0">
              <a:solidFill>
                <a:srgbClr val="006A6B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FCB4306F-A2DD-49B0-B8B6-392F6CE68D61}"/>
              </a:ext>
            </a:extLst>
          </p:cNvPr>
          <p:cNvSpPr txBox="1"/>
          <p:nvPr/>
        </p:nvSpPr>
        <p:spPr>
          <a:xfrm>
            <a:off x="5231904" y="5244634"/>
            <a:ext cx="721878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br>
              <a:rPr lang="pt-BR" b="1" dirty="0">
                <a:solidFill>
                  <a:srgbClr val="399593"/>
                </a:solidFill>
              </a:rPr>
            </a:br>
            <a:endParaRPr lang="pt-BR" b="1" dirty="0">
              <a:solidFill>
                <a:srgbClr val="399593"/>
              </a:solidFill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2ECF1F6F-87BD-4269-8C23-254FF12482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3352" y="766793"/>
            <a:ext cx="3375495" cy="4803080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43F5E2D2-65E2-4FE7-B129-7B83F6122D6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13829" y="766793"/>
            <a:ext cx="3385842" cy="4789873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A3F95128-EDE8-4DD0-8A12-DE30EE4F095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1866" t="20914" r="23543" b="25730"/>
          <a:stretch/>
        </p:blipFill>
        <p:spPr>
          <a:xfrm>
            <a:off x="8005226" y="826666"/>
            <a:ext cx="2821811" cy="133946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DD877D61-878B-469B-970A-DCD3C32A5287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2228" t="33201" r="8000" b="23525"/>
          <a:stretch/>
        </p:blipFill>
        <p:spPr>
          <a:xfrm>
            <a:off x="8324360" y="3995846"/>
            <a:ext cx="2485247" cy="159735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72640C7F-C913-4750-B756-C71483C4F360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b="45800"/>
          <a:stretch/>
        </p:blipFill>
        <p:spPr>
          <a:xfrm>
            <a:off x="7196999" y="2259804"/>
            <a:ext cx="2272657" cy="164237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A2C8056C-EE24-410F-A69C-3D46AFB4261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566984" y="2259954"/>
            <a:ext cx="2189829" cy="164237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930258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106C9356-833A-4B5B-A081-D7DCAA6AE954}"/>
              </a:ext>
            </a:extLst>
          </p:cNvPr>
          <p:cNvSpPr txBox="1"/>
          <p:nvPr/>
        </p:nvSpPr>
        <p:spPr>
          <a:xfrm>
            <a:off x="2279576" y="425573"/>
            <a:ext cx="7164796" cy="56015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marL="457200" indent="-457200" algn="ctr">
              <a:defRPr/>
            </a:pPr>
            <a:r>
              <a:rPr lang="pt-BR" sz="4400" b="1" dirty="0">
                <a:solidFill>
                  <a:srgbClr val="3995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urostile" panose="020B0504020202050204" pitchFamily="34" charset="77"/>
                <a:ea typeface="+mj-ea"/>
                <a:cs typeface="+mj-cs"/>
              </a:rPr>
              <a:t>Limpeza da placa “M’Boi” </a:t>
            </a:r>
          </a:p>
          <a:p>
            <a:pPr marL="457200" indent="-457200" algn="ctr">
              <a:defRPr/>
            </a:pPr>
            <a:r>
              <a:rPr lang="pt-BR" sz="4400" b="1" dirty="0">
                <a:solidFill>
                  <a:srgbClr val="3995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urostile" panose="020B0504020202050204" pitchFamily="34" charset="77"/>
                <a:ea typeface="+mj-ea"/>
                <a:cs typeface="+mj-cs"/>
              </a:rPr>
              <a:t>na fachada do Hospital</a:t>
            </a:r>
          </a:p>
          <a:p>
            <a:pPr marL="457200" indent="-457200" algn="ctr">
              <a:defRPr/>
            </a:pPr>
            <a:endParaRPr lang="pt-BR" sz="4400" b="1" dirty="0">
              <a:solidFill>
                <a:srgbClr val="39959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Eurostile" panose="020B0504020202050204" pitchFamily="34" charset="77"/>
              <a:ea typeface="+mj-ea"/>
              <a:cs typeface="+mj-cs"/>
            </a:endParaRPr>
          </a:p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   </a:t>
            </a:r>
          </a:p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Rosemeire Assis</a:t>
            </a:r>
          </a:p>
          <a:p>
            <a:pPr algn="ctr"/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algn="ctr"/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648536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C3BBFF74-71FB-417F-A36B-DE3977D913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09373" y="925932"/>
            <a:ext cx="2532445" cy="493159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F7552AC7-9E8B-4A2D-813D-207AB9009C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5788" y="918486"/>
            <a:ext cx="2532446" cy="494528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0AE7E8FD-B07E-4747-9BF2-7B9AF7252748}"/>
              </a:ext>
            </a:extLst>
          </p:cNvPr>
          <p:cNvSpPr txBox="1"/>
          <p:nvPr/>
        </p:nvSpPr>
        <p:spPr>
          <a:xfrm>
            <a:off x="3762481" y="5864413"/>
            <a:ext cx="10081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/>
              <a:t>Depois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2BE08A12-DF5D-4D30-AED4-F5CC1170D706}"/>
              </a:ext>
            </a:extLst>
          </p:cNvPr>
          <p:cNvSpPr txBox="1"/>
          <p:nvPr/>
        </p:nvSpPr>
        <p:spPr>
          <a:xfrm>
            <a:off x="1161305" y="5875369"/>
            <a:ext cx="10081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/>
              <a:t>Antes</a:t>
            </a:r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C681A642-B05C-427C-9811-9308C141EA1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2150" r="32818" b="2750"/>
          <a:stretch/>
        </p:blipFill>
        <p:spPr>
          <a:xfrm>
            <a:off x="5520534" y="925932"/>
            <a:ext cx="1407824" cy="244099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id="{9E10FA50-E7B9-4C49-A967-A799C03486D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7927" r="33117"/>
          <a:stretch/>
        </p:blipFill>
        <p:spPr>
          <a:xfrm>
            <a:off x="6975650" y="918487"/>
            <a:ext cx="1425090" cy="244099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B065B372-C2BC-4F5F-9A42-E11A177273E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9127" t="16401" r="8074"/>
          <a:stretch/>
        </p:blipFill>
        <p:spPr>
          <a:xfrm>
            <a:off x="8439147" y="918487"/>
            <a:ext cx="1407824" cy="24333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id="{1EB98F95-D5F4-4053-8FD4-1AB979EFEF49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36350" r="10800"/>
          <a:stretch/>
        </p:blipFill>
        <p:spPr>
          <a:xfrm>
            <a:off x="5532330" y="3423421"/>
            <a:ext cx="1924217" cy="244099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7" name="Imagem 16">
            <a:extLst>
              <a:ext uri="{FF2B5EF4-FFF2-40B4-BE49-F238E27FC236}">
                <a16:creationId xmlns:a16="http://schemas.microsoft.com/office/drawing/2014/main" id="{20FD88F0-40F5-45F9-9972-B2ABF0A3AE35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7257" t="11630" b="2751"/>
          <a:stretch/>
        </p:blipFill>
        <p:spPr>
          <a:xfrm>
            <a:off x="7580093" y="3432549"/>
            <a:ext cx="1998507" cy="248033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id="{85E0867A-F67A-442A-A984-2A7CE95025FE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20601" r="23139" b="10101"/>
          <a:stretch/>
        </p:blipFill>
        <p:spPr>
          <a:xfrm>
            <a:off x="9912424" y="918487"/>
            <a:ext cx="1540210" cy="24333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9" name="Imagem 18">
            <a:extLst>
              <a:ext uri="{FF2B5EF4-FFF2-40B4-BE49-F238E27FC236}">
                <a16:creationId xmlns:a16="http://schemas.microsoft.com/office/drawing/2014/main" id="{96A08E73-20F4-4D51-8737-FB798C308FBE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1" t="33201" r="14838"/>
          <a:stretch/>
        </p:blipFill>
        <p:spPr>
          <a:xfrm>
            <a:off x="9702146" y="3423421"/>
            <a:ext cx="1750488" cy="248033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1" name="CaixaDeTexto 20">
            <a:extLst>
              <a:ext uri="{FF2B5EF4-FFF2-40B4-BE49-F238E27FC236}">
                <a16:creationId xmlns:a16="http://schemas.microsoft.com/office/drawing/2014/main" id="{30217715-7333-4EA9-A2B1-82A34A374617}"/>
              </a:ext>
            </a:extLst>
          </p:cNvPr>
          <p:cNvSpPr txBox="1"/>
          <p:nvPr/>
        </p:nvSpPr>
        <p:spPr>
          <a:xfrm>
            <a:off x="267376" y="10141"/>
            <a:ext cx="9789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Limpeza Geral das Placas e Sinalizações </a:t>
            </a:r>
          </a:p>
        </p:txBody>
      </p:sp>
    </p:spTree>
    <p:extLst>
      <p:ext uri="{BB962C8B-B14F-4D97-AF65-F5344CB8AC3E}">
        <p14:creationId xmlns:p14="http://schemas.microsoft.com/office/powerpoint/2010/main" val="72338595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3575720" y="2132856"/>
            <a:ext cx="6984776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pt-BR" sz="4800" b="1" dirty="0">
              <a:solidFill>
                <a:srgbClr val="399593"/>
              </a:solidFill>
            </a:endParaRPr>
          </a:p>
          <a:p>
            <a:pPr algn="ctr"/>
            <a:r>
              <a:rPr lang="pt-BR" sz="4400" b="1" dirty="0">
                <a:solidFill>
                  <a:srgbClr val="399593"/>
                </a:solidFill>
              </a:rPr>
              <a:t>OBRIGADA!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CD757229-210B-40FB-98D6-5DA72B0B24E5}"/>
              </a:ext>
            </a:extLst>
          </p:cNvPr>
          <p:cNvSpPr txBox="1"/>
          <p:nvPr/>
        </p:nvSpPr>
        <p:spPr>
          <a:xfrm>
            <a:off x="7824192" y="5394392"/>
            <a:ext cx="6048672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Luana LLagostera Sillano Gentil</a:t>
            </a:r>
          </a:p>
          <a:p>
            <a:pPr algn="ctr"/>
            <a:r>
              <a:rPr lang="pt-B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Diretora Hospitalar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139DAB80-C26D-494E-94B5-507C94A04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4552" y="31444"/>
            <a:ext cx="1098421" cy="787431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9787433C-9671-4523-B62C-5A4DEF0C4EC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5900" b="8001"/>
          <a:stretch/>
        </p:blipFill>
        <p:spPr>
          <a:xfrm>
            <a:off x="191344" y="31444"/>
            <a:ext cx="3538930" cy="617430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801260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Agenda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5FF0B1B-8139-4704-BC7C-5562D8965105}"/>
              </a:ext>
            </a:extLst>
          </p:cNvPr>
          <p:cNvSpPr txBox="1"/>
          <p:nvPr/>
        </p:nvSpPr>
        <p:spPr>
          <a:xfrm>
            <a:off x="475386" y="556093"/>
            <a:ext cx="11716613" cy="6740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spostas e Informes aos Conselheiros</a:t>
            </a:r>
          </a:p>
          <a:p>
            <a:pPr marL="457200" indent="-457200">
              <a:defRPr/>
            </a:pPr>
            <a:endParaRPr lang="pt-BR" sz="2400" dirty="0">
              <a:solidFill>
                <a:schemeClr val="bg1"/>
              </a:solidFill>
              <a:highlight>
                <a:srgbClr val="00969A"/>
              </a:highlight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chemeClr val="bg1"/>
                </a:solidFill>
                <a:highlight>
                  <a:srgbClr val="00969A"/>
                </a:highlight>
                <a:latin typeface="Calibri"/>
              </a:rPr>
              <a:t>Metas do Contrato de Gestão e RH – Luana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Demonstrativo de Resultados – Alexandre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Atendimento ao Cliente e Experiência Paciente – Pedro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torno do Último Encontro: </a:t>
            </a:r>
          </a:p>
          <a:p>
            <a:pPr marL="457200" indent="-45720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lang="pt-BR" b="1" dirty="0">
                <a:solidFill>
                  <a:srgbClr val="008080"/>
                </a:solidFill>
                <a:latin typeface="Calibri"/>
              </a:rPr>
              <a:t>Luana: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 Apresentar os atendimentos realizados em outros municípios</a:t>
            </a:r>
          </a:p>
          <a:p>
            <a:pPr marL="457200" indent="-45720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lang="pt-BR" b="1" dirty="0">
                <a:solidFill>
                  <a:srgbClr val="008080"/>
                </a:solidFill>
                <a:latin typeface="Calibri"/>
              </a:rPr>
              <a:t>Dra. Mariana: 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Apresentar o fluxo do paciente agudo psiquiátrico</a:t>
            </a:r>
          </a:p>
          <a:p>
            <a:pPr marL="457200" lvl="0" indent="-45720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lang="pt-BR" b="1" dirty="0">
                <a:solidFill>
                  <a:srgbClr val="008080"/>
                </a:solidFill>
                <a:latin typeface="Calibri"/>
              </a:rPr>
              <a:t>Dr. Felipe: 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Apresentar tempo de higienização e </a:t>
            </a:r>
            <a:r>
              <a:rPr lang="pt-BR" dirty="0" err="1">
                <a:solidFill>
                  <a:srgbClr val="008080"/>
                </a:solidFill>
                <a:latin typeface="Calibri"/>
              </a:rPr>
              <a:t>Higipró</a:t>
            </a:r>
            <a:endParaRPr lang="pt-BR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lang="pt-BR" b="1" dirty="0">
                <a:solidFill>
                  <a:srgbClr val="008080"/>
                </a:solidFill>
                <a:latin typeface="Calibri"/>
              </a:rPr>
              <a:t>Camila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:</a:t>
            </a:r>
            <a:r>
              <a:rPr lang="pt-BR" dirty="0"/>
              <a:t> 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Verificação do hall de espera dos pacientes classificados em amarelo – referente a cadeiras de rodas</a:t>
            </a:r>
          </a:p>
          <a:p>
            <a:pPr marL="457200" lvl="0" indent="-45720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lang="pt-BR" b="1" dirty="0">
                <a:solidFill>
                  <a:srgbClr val="008080"/>
                </a:solidFill>
                <a:latin typeface="Calibri"/>
              </a:rPr>
              <a:t>Rose: </a:t>
            </a:r>
            <a:r>
              <a:rPr lang="pt-BR" dirty="0">
                <a:solidFill>
                  <a:srgbClr val="008080"/>
                </a:solidFill>
                <a:latin typeface="Calibri"/>
              </a:rPr>
              <a:t>Verificar a limpeza da placa “M’Boi” na fachada do Hospital</a:t>
            </a:r>
          </a:p>
          <a:p>
            <a:pPr>
              <a:defRPr/>
            </a:pPr>
            <a:endParaRPr lang="pt-BR" dirty="0">
              <a:solidFill>
                <a:srgbClr val="008080"/>
              </a:solidFill>
              <a:latin typeface="Calibri"/>
            </a:endParaRPr>
          </a:p>
          <a:p>
            <a:pPr>
              <a:defRPr/>
            </a:pPr>
            <a:r>
              <a:rPr lang="pt-BR" dirty="0">
                <a:solidFill>
                  <a:srgbClr val="008080"/>
                </a:solidFill>
                <a:latin typeface="Calibri"/>
              </a:rPr>
              <a:t>       </a:t>
            </a:r>
          </a:p>
          <a:p>
            <a:pPr>
              <a:defRPr/>
            </a:pPr>
            <a:endParaRPr lang="pt-BR" dirty="0">
              <a:solidFill>
                <a:srgbClr val="008080"/>
              </a:solidFill>
              <a:latin typeface="Calibri"/>
            </a:endParaRPr>
          </a:p>
          <a:p>
            <a:pPr>
              <a:defRPr/>
            </a:pPr>
            <a:endParaRPr lang="pt-BR" dirty="0">
              <a:solidFill>
                <a:srgbClr val="008080"/>
              </a:solidFill>
              <a:latin typeface="Calibri"/>
            </a:endParaRPr>
          </a:p>
          <a:p>
            <a:pPr lvl="0">
              <a:buSzPts val="1000"/>
              <a:tabLst>
                <a:tab pos="457200" algn="l"/>
              </a:tabLst>
              <a:defRPr/>
            </a:pPr>
            <a:endParaRPr lang="pt-BR" dirty="0">
              <a:solidFill>
                <a:srgbClr val="008080"/>
              </a:solidFill>
              <a:latin typeface="Calibri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pt-BR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54481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9376" y="199884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Metas Qualitativas – Portaria N° 866 de 31 de Dezembro de 2024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BE1617DF-A44B-482A-AD50-ED3993D68C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9459" y="781943"/>
            <a:ext cx="9089005" cy="2469094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7101E074-AD98-4E9D-ABA3-4C12CA77D94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29459" y="3423785"/>
            <a:ext cx="9089005" cy="2462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4459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9376" y="199884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Metas Qualitativas – Portaria N° 866 de 31 de Dezembro de 2024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289D897C-79A8-4EFC-94D3-A9A079BD41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4421" y="769570"/>
            <a:ext cx="9090141" cy="2507451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ABD71503-9FE7-426A-B87D-6C089FBBF5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4421" y="3451688"/>
            <a:ext cx="9090141" cy="2501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01653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_wE9r3IlIAG16zcwIIW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_i2005TImSBEHVauaJR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a_FJdt9z13iiM35EG53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bR93FIc32z0X9JPwFwD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SNP1cT2VczLtesSOwia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Yp8CuHdERVrsYO_X76_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e.0ZzkjHBXNJPWRSf2C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eGdnRXkyBLIQtTyZCVP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GfyekC3IVESLUols.l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SSzdPvQPmf0TI7w92Es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w9Wxah63Cevhf.hpLsf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o7a8N7TEEzxVlL1hBx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ymBpjpF5YKb8DeSq0Z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jj6w0AEmfYQHWe3xcL6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nIEE2_lJwLHh4Irnai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XnbaLTDJn8lc0KDggw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CktlXz1_pgFCp74jn1N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YvIa5cSCVX_WohNfD5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j3prmp7X0Kg2ytwegLt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rnBhd6deaaWZm0WaJqt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aisG93lcuhf5tJhKYRv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2CEq4WObIsLHuLgbUXv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K_ZJuXczr5i4Jy6847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0MsAtExHK2GLOSirxkI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TlTtWZkQQH4n2048g3a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JSSDGNqFdEJq2Rwyyfz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tlBVwNDAbxRQwbL07Vx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zoQxw0s16xMiMJn_STb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eCcgk1rCliks8AeHomo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bvrb_JwxIfAH7E2NJvW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yhWxbEyGvKDM4Dl5oXg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iSuZOg1vts7Pbf_e9FJ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QpaFgZsqTQHb5YJZRVm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df8YKdMQQCK4Rfm18rc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M3l7DA4bZeySouEygtx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xvEMyh9rj5KfdIQ6Fo8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_QVCGIa9gRalDKvS7zo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fG4wD0C4.PKw.Ru5c9U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OFDs0ovcE6LrelS298l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qJxlQLxj36jiRGRfmcE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2ueGg4RFfI7AG0yDCM.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P7SrqRLVC0L0pMQuOin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1h0RQ6iMBBsG9h75B9d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i.EySMYv4Dc4LM.GyL4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eCkhHnz6ai2WHwP_AIU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4g88b3OugIMcmwOVPg7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K5YWGRSdDlB6CDylIsP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SF_VfFVBnTO6u5QkqR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W944g0tF80nnt3qi7kZ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8D.NIR38TpbiVElLK4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oXBzSmSarWlU8r_srtv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IT0z8bt6x2PZvmMKswP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3q7xGWNAvQveBpDNmAC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iHXvj_Q5C8FRKd9mi4w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rPbm1q1DA9Lcag8..VI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XmEftj4uQibIgq777Dq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lD0CKrRkMnE_Wt29V1o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pGkIM8avwuBLt2D6Z7.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4TiG9V9GvJlhjOen5a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IhnyPx.Reqzn8jR4qQ5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pDY.tA6oBt8dSJDhYq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tDTcA8TXcVanUhFj5Jq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Xxz_EdYARt9sN.HyapJ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Yz7kFNBxBo5BqWFMyLw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hwbXWnOZ.9f0SpIqiQ0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5nWHat58BEybm8qns09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Lz31C6eKUVxKE5uNBul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YOqrKSPV5WHQRWnH_mK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S.xtDW_.f7o3CHdab.Y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6ZRsCSCvgZ1bRRszBo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tN6.tuNHlI8utPqia8z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BkCvb3cyL6nBwDSi5y3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Ssg03oeds1ySlZt8nN4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r5NRFX1VQm4Xq6oUr9L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.OTgTpfhmiCY2Yn9k24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GRxu6YwdJHmxyj0rbd9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hk2CewYhBQnnGG3gjqM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dkdjqvK3qgLqLXR9ImV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X1ESKDQGjTLkuIzu6Q7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JgpFYXVoQyXVcCRMzXb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.5dE5pSzMN4KmJ81By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SB6mLmKlLqb3.6ykivw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3pgQa0PsZmj0x7uqrE0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DD2QXchrLrSE1zLupUD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n65gV.HyXRQ_Uxikk43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e1OCJHTJrYMtGbsbFgd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R3wQTV.GJIAV9yR1fZL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jqLhQOs2BTGDPKM3ROS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2GcmdjbdiYTO4L7pN39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3FdhKF4mm5GVMJfzXu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yRvNqARCem02lHc6jNX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slrjxz6HLyJIPJ9bye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shIRUQSP5SVoG05J7M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cvZBVcSE77aPnHFwjNi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0JPVIzop.R18Lcz6wwH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7RrSf9VPErL0aIYnVXx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hURcNqn2sf6DPrF5vSi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E1WcuRvokYEmrIxPUEl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iO50P4gH.GcIn2TzIVZ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zFV.jIC.grJ5z7YpCy1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i13bwfJPZ796KB3cmvD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RtFivXmxXfF0tgNBqr2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nnZ4nj7q_SqvWB.oNGXQ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Personalizada 1">
    <a:dk1>
      <a:sysClr val="windowText" lastClr="000000"/>
    </a:dk1>
    <a:lt1>
      <a:sysClr val="window" lastClr="FFFFFF"/>
    </a:lt1>
    <a:dk2>
      <a:srgbClr val="335B74"/>
    </a:dk2>
    <a:lt2>
      <a:srgbClr val="DFE3E5"/>
    </a:lt2>
    <a:accent1>
      <a:srgbClr val="487B78"/>
    </a:accent1>
    <a:accent2>
      <a:srgbClr val="487B78"/>
    </a:accent2>
    <a:accent3>
      <a:srgbClr val="27CED7"/>
    </a:accent3>
    <a:accent4>
      <a:srgbClr val="42BA97"/>
    </a:accent4>
    <a:accent5>
      <a:srgbClr val="3E8853"/>
    </a:accent5>
    <a:accent6>
      <a:srgbClr val="62A39F"/>
    </a:accent6>
    <a:hlink>
      <a:srgbClr val="6EAC1C"/>
    </a:hlink>
    <a:folHlink>
      <a:srgbClr val="B26B02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Personalizada 1">
    <a:dk1>
      <a:sysClr val="windowText" lastClr="000000"/>
    </a:dk1>
    <a:lt1>
      <a:sysClr val="window" lastClr="FFFFFF"/>
    </a:lt1>
    <a:dk2>
      <a:srgbClr val="335B74"/>
    </a:dk2>
    <a:lt2>
      <a:srgbClr val="DFE3E5"/>
    </a:lt2>
    <a:accent1>
      <a:srgbClr val="487B78"/>
    </a:accent1>
    <a:accent2>
      <a:srgbClr val="487B78"/>
    </a:accent2>
    <a:accent3>
      <a:srgbClr val="27CED7"/>
    </a:accent3>
    <a:accent4>
      <a:srgbClr val="42BA97"/>
    </a:accent4>
    <a:accent5>
      <a:srgbClr val="3E8853"/>
    </a:accent5>
    <a:accent6>
      <a:srgbClr val="62A39F"/>
    </a:accent6>
    <a:hlink>
      <a:srgbClr val="6EAC1C"/>
    </a:hlink>
    <a:folHlink>
      <a:srgbClr val="B26B02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Personalizada 1">
    <a:dk1>
      <a:sysClr val="windowText" lastClr="000000"/>
    </a:dk1>
    <a:lt1>
      <a:sysClr val="window" lastClr="FFFFFF"/>
    </a:lt1>
    <a:dk2>
      <a:srgbClr val="335B74"/>
    </a:dk2>
    <a:lt2>
      <a:srgbClr val="DFE3E5"/>
    </a:lt2>
    <a:accent1>
      <a:srgbClr val="487B78"/>
    </a:accent1>
    <a:accent2>
      <a:srgbClr val="487B78"/>
    </a:accent2>
    <a:accent3>
      <a:srgbClr val="27CED7"/>
    </a:accent3>
    <a:accent4>
      <a:srgbClr val="42BA97"/>
    </a:accent4>
    <a:accent5>
      <a:srgbClr val="3E8853"/>
    </a:accent5>
    <a:accent6>
      <a:srgbClr val="62A39F"/>
    </a:accent6>
    <a:hlink>
      <a:srgbClr val="6EAC1C"/>
    </a:hlink>
    <a:folHlink>
      <a:srgbClr val="B26B02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Personalizada 1">
    <a:dk1>
      <a:sysClr val="windowText" lastClr="000000"/>
    </a:dk1>
    <a:lt1>
      <a:sysClr val="window" lastClr="FFFFFF"/>
    </a:lt1>
    <a:dk2>
      <a:srgbClr val="335B74"/>
    </a:dk2>
    <a:lt2>
      <a:srgbClr val="DFE3E5"/>
    </a:lt2>
    <a:accent1>
      <a:srgbClr val="487B78"/>
    </a:accent1>
    <a:accent2>
      <a:srgbClr val="487B78"/>
    </a:accent2>
    <a:accent3>
      <a:srgbClr val="27CED7"/>
    </a:accent3>
    <a:accent4>
      <a:srgbClr val="42BA97"/>
    </a:accent4>
    <a:accent5>
      <a:srgbClr val="3E8853"/>
    </a:accent5>
    <a:accent6>
      <a:srgbClr val="62A39F"/>
    </a:accent6>
    <a:hlink>
      <a:srgbClr val="6EAC1C"/>
    </a:hlink>
    <a:folHlink>
      <a:srgbClr val="B26B02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Personalizada 1">
    <a:dk1>
      <a:sysClr val="windowText" lastClr="000000"/>
    </a:dk1>
    <a:lt1>
      <a:sysClr val="window" lastClr="FFFFFF"/>
    </a:lt1>
    <a:dk2>
      <a:srgbClr val="335B74"/>
    </a:dk2>
    <a:lt2>
      <a:srgbClr val="DFE3E5"/>
    </a:lt2>
    <a:accent1>
      <a:srgbClr val="487B78"/>
    </a:accent1>
    <a:accent2>
      <a:srgbClr val="487B78"/>
    </a:accent2>
    <a:accent3>
      <a:srgbClr val="27CED7"/>
    </a:accent3>
    <a:accent4>
      <a:srgbClr val="42BA97"/>
    </a:accent4>
    <a:accent5>
      <a:srgbClr val="3E8853"/>
    </a:accent5>
    <a:accent6>
      <a:srgbClr val="62A39F"/>
    </a:accent6>
    <a:hlink>
      <a:srgbClr val="6EAC1C"/>
    </a:hlink>
    <a:folHlink>
      <a:srgbClr val="B26B02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164</TotalTime>
  <Words>2475</Words>
  <Application>Microsoft Office PowerPoint</Application>
  <PresentationFormat>Widescreen</PresentationFormat>
  <Paragraphs>551</Paragraphs>
  <Slides>62</Slides>
  <Notes>14</Notes>
  <HiddenSlides>0</HiddenSlides>
  <MMClips>0</MMClips>
  <ScaleCrop>false</ScaleCrop>
  <HeadingPairs>
    <vt:vector size="10" baseType="variant">
      <vt:variant>
        <vt:lpstr>Fontes usadas</vt:lpstr>
      </vt:variant>
      <vt:variant>
        <vt:i4>12</vt:i4>
      </vt:variant>
      <vt:variant>
        <vt:lpstr>Tema</vt:lpstr>
      </vt:variant>
      <vt:variant>
        <vt:i4>1</vt:i4>
      </vt:variant>
      <vt:variant>
        <vt:lpstr>Vínculos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62</vt:i4>
      </vt:variant>
    </vt:vector>
  </HeadingPairs>
  <TitlesOfParts>
    <vt:vector size="79" baseType="lpstr">
      <vt:lpstr>Arial</vt:lpstr>
      <vt:lpstr>Bahnschrift Light SemiCondensed</vt:lpstr>
      <vt:lpstr>Calibri</vt:lpstr>
      <vt:lpstr>Eurostile</vt:lpstr>
      <vt:lpstr>Inter</vt:lpstr>
      <vt:lpstr>Montserrat</vt:lpstr>
      <vt:lpstr>Montserrat Ultra-Bold</vt:lpstr>
      <vt:lpstr>Segoe UI</vt:lpstr>
      <vt:lpstr>Symbol</vt:lpstr>
      <vt:lpstr>Times New Roman</vt:lpstr>
      <vt:lpstr>Trebuchet MS</vt:lpstr>
      <vt:lpstr>Wingdings 3</vt:lpstr>
      <vt:lpstr>Tema do Office</vt:lpstr>
      <vt:lpstr>file:///\\arqsv0\FIN\ContPlanFinanceiro\PlanejamentoFinanceiro\PFInvestimentos\Business%20Control\3.IIRS%20e%20Cuidado%20Público\0.%20Relatório%20Mensal_Saúde%20Pública\3.%20HMMD_Mboi\08.%2025\08.%2025%20-%20Relatório%20Financeiro%20(HMMD).xlsx!Tabelas!L2C3:L26C23</vt:lpstr>
      <vt:lpstr>file:///\\arqsv0\FIN\ContPlanFinanceiro\PlanejamentoFinanceiro\PFInvestimentos\Business%20Control\3.IIRS%20e%20Cuidado%20Público\0.%20Relatório%20Mensal_Saúde%20Pública\3.%20HMMD_Mboi\08.%2025\08.%2025%20-%20Relatório%20Financeiro%20(HMMD).xlsx!P&amp;L%20HMMD!L3C3:L56C65</vt:lpstr>
      <vt:lpstr>file:///\\arqsv0\FIN\ContPlanFinanceiro\PlanejamentoFinanceiro\PFInvestimentos\Business%20Control\3.IIRS%20e%20Cuidado%20Público\0.%20Relatório%20Mensal_Saúde%20Pública\3.%20HMMD_Mboi\08.%2025\08.%2025%20-%20Relatório%20Financeiro%20(HMMD).xlsx!Tabelas!L29C3:L40C23</vt:lpstr>
      <vt:lpstr>Slide do think-cell</vt:lpstr>
      <vt:lpstr>Relatório Gerencial Conselho Gestor Agosto de 2025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Evolutivo NPS Ambulatório 2025:</vt:lpstr>
      <vt:lpstr>Evolutivo NPS Pronto Socorro - 2025: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Julio Cezar de Andrade</dc:creator>
  <cp:lastModifiedBy>Rosana Ramos De Souza</cp:lastModifiedBy>
  <cp:revision>1439</cp:revision>
  <cp:lastPrinted>2018-08-09T22:48:05Z</cp:lastPrinted>
  <dcterms:created xsi:type="dcterms:W3CDTF">2016-01-13T11:44:51Z</dcterms:created>
  <dcterms:modified xsi:type="dcterms:W3CDTF">2025-10-01T20:58:52Z</dcterms:modified>
</cp:coreProperties>
</file>